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
  </p:notesMasterIdLst>
  <p:handoutMasterIdLst>
    <p:handoutMasterId r:id="rId6"/>
  </p:handoutMasterIdLst>
  <p:sldIdLst>
    <p:sldId id="258" r:id="rId2"/>
    <p:sldId id="305" r:id="rId3"/>
    <p:sldId id="307" r:id="rId4"/>
  </p:sldIdLst>
  <p:sldSz cx="7561263" cy="10693400"/>
  <p:notesSz cx="6797675" cy="9926638"/>
  <p:custDataLst>
    <p:tags r:id="rId7"/>
  </p:custDataLst>
  <p:defaultText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B2"/>
    <a:srgbClr val="E4002B"/>
    <a:srgbClr val="000000"/>
    <a:srgbClr val="FFFFFF"/>
    <a:srgbClr val="969797"/>
    <a:srgbClr val="979796"/>
    <a:srgbClr val="C3C4C4"/>
    <a:srgbClr val="DEE1AA"/>
    <a:srgbClr val="FFC5A3"/>
    <a:srgbClr val="FF98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10" autoAdjust="0"/>
    <p:restoredTop sz="93120" autoAdjust="0"/>
  </p:normalViewPr>
  <p:slideViewPr>
    <p:cSldViewPr snapToGrid="0">
      <p:cViewPr varScale="1">
        <p:scale>
          <a:sx n="74" d="100"/>
          <a:sy n="74" d="100"/>
        </p:scale>
        <p:origin x="3090"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6" d="100"/>
          <a:sy n="86" d="100"/>
        </p:scale>
        <p:origin x="2928"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A5CC0A17-3E35-4921-BF07-F4A461A7E825}" type="datetimeFigureOut">
              <a:rPr lang="en-NZ" smtClean="0"/>
              <a:t>19/01/2024</a:t>
            </a:fld>
            <a:endParaRPr lang="en-NZ"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NZ"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0881CBE-B88E-49F7-A36D-8BEACD82F9E3}" type="slidenum">
              <a:rPr lang="en-NZ" smtClean="0"/>
              <a:t>‹#›</a:t>
            </a:fld>
            <a:endParaRPr lang="en-NZ" dirty="0"/>
          </a:p>
        </p:txBody>
      </p:sp>
    </p:spTree>
    <p:extLst>
      <p:ext uri="{BB962C8B-B14F-4D97-AF65-F5344CB8AC3E}">
        <p14:creationId xmlns:p14="http://schemas.microsoft.com/office/powerpoint/2010/main" val="185590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36F24F6-1556-47AD-907E-11C4C804A6C2}" type="datetimeFigureOut">
              <a:rPr lang="en-GB" smtClean="0"/>
              <a:t>19/01/2024</a:t>
            </a:fld>
            <a:endParaRPr lang="en-GB" dirty="0"/>
          </a:p>
        </p:txBody>
      </p:sp>
      <p:sp>
        <p:nvSpPr>
          <p:cNvPr id="4" name="Slide Image Placeholder 3"/>
          <p:cNvSpPr>
            <a:spLocks noGrp="1" noRot="1" noChangeAspect="1"/>
          </p:cNvSpPr>
          <p:nvPr>
            <p:ph type="sldImg" idx="2"/>
          </p:nvPr>
        </p:nvSpPr>
        <p:spPr>
          <a:xfrm>
            <a:off x="2082800" y="744538"/>
            <a:ext cx="263207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dirty="0"/>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mn-lt"/>
        <a:ea typeface="+mn-ea"/>
        <a:cs typeface="+mn-cs"/>
      </a:defRPr>
    </a:lvl1pPr>
    <a:lvl2pPr marL="497845" algn="l" defTabSz="995690" rtl="0" eaLnBrk="1" latinLnBrk="0" hangingPunct="1">
      <a:defRPr sz="1300" kern="1200">
        <a:solidFill>
          <a:schemeClr val="tx1"/>
        </a:solidFill>
        <a:latin typeface="+mn-lt"/>
        <a:ea typeface="+mn-ea"/>
        <a:cs typeface="+mn-cs"/>
      </a:defRPr>
    </a:lvl2pPr>
    <a:lvl3pPr marL="995690" algn="l" defTabSz="995690" rtl="0" eaLnBrk="1" latinLnBrk="0" hangingPunct="1">
      <a:defRPr sz="1300" kern="1200">
        <a:solidFill>
          <a:schemeClr val="tx1"/>
        </a:solidFill>
        <a:latin typeface="+mn-lt"/>
        <a:ea typeface="+mn-ea"/>
        <a:cs typeface="+mn-cs"/>
      </a:defRPr>
    </a:lvl3pPr>
    <a:lvl4pPr marL="1493535" algn="l" defTabSz="995690" rtl="0" eaLnBrk="1" latinLnBrk="0" hangingPunct="1">
      <a:defRPr sz="1300" kern="1200">
        <a:solidFill>
          <a:schemeClr val="tx1"/>
        </a:solidFill>
        <a:latin typeface="+mn-lt"/>
        <a:ea typeface="+mn-ea"/>
        <a:cs typeface="+mn-cs"/>
      </a:defRPr>
    </a:lvl4pPr>
    <a:lvl5pPr marL="1991380" algn="l" defTabSz="995690" rtl="0" eaLnBrk="1" latinLnBrk="0" hangingPunct="1">
      <a:defRPr sz="1300" kern="1200">
        <a:solidFill>
          <a:schemeClr val="tx1"/>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0</a:t>
            </a:fld>
            <a:endParaRPr lang="en-GB" dirty="0"/>
          </a:p>
        </p:txBody>
      </p:sp>
    </p:spTree>
    <p:extLst>
      <p:ext uri="{BB962C8B-B14F-4D97-AF65-F5344CB8AC3E}">
        <p14:creationId xmlns:p14="http://schemas.microsoft.com/office/powerpoint/2010/main" val="2485680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1</a:t>
            </a:fld>
            <a:endParaRPr lang="en-GB" dirty="0"/>
          </a:p>
        </p:txBody>
      </p:sp>
    </p:spTree>
    <p:extLst>
      <p:ext uri="{BB962C8B-B14F-4D97-AF65-F5344CB8AC3E}">
        <p14:creationId xmlns:p14="http://schemas.microsoft.com/office/powerpoint/2010/main" val="3797465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2</a:t>
            </a:fld>
            <a:endParaRPr lang="en-GB" dirty="0"/>
          </a:p>
        </p:txBody>
      </p:sp>
    </p:spTree>
    <p:extLst>
      <p:ext uri="{BB962C8B-B14F-4D97-AF65-F5344CB8AC3E}">
        <p14:creationId xmlns:p14="http://schemas.microsoft.com/office/powerpoint/2010/main" val="16958333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10.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6.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slideMaster" Target="../slideMasters/slideMaster1.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17.bin"/><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 Type="http://schemas.openxmlformats.org/officeDocument/2006/relationships/tags" Target="../tags/tag85.xml"/><Relationship Id="rId21" Type="http://schemas.openxmlformats.org/officeDocument/2006/relationships/tags" Target="../tags/tag103.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image" Target="../media/image1.emf"/><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oleObject" Target="../embeddings/oleObject18.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1.emf"/><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oleObject" Target="../embeddings/oleObject19.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5.xml"/><Relationship Id="rId7" Type="http://schemas.openxmlformats.org/officeDocument/2006/relationships/oleObject" Target="../embeddings/oleObject22.bin"/><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slideMaster" Target="../slideMasters/slideMaster1.xml"/><Relationship Id="rId5" Type="http://schemas.openxmlformats.org/officeDocument/2006/relationships/tags" Target="../tags/tag127.xml"/><Relationship Id="rId4"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0.xml"/><Relationship Id="rId7"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24.bin"/><Relationship Id="rId4" Type="http://schemas.openxmlformats.org/officeDocument/2006/relationships/tags" Target="../tags/tag137.xml"/><Relationship Id="rId9"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image" Target="../media/image1.emf"/><Relationship Id="rId2" Type="http://schemas.openxmlformats.org/officeDocument/2006/relationships/tags" Target="../tags/tag143.xml"/><Relationship Id="rId16" Type="http://schemas.openxmlformats.org/officeDocument/2006/relationships/oleObject" Target="../embeddings/oleObject25.bin"/><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slideMaster" Target="../slideMasters/slideMaster1.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8.xml"/><Relationship Id="rId7" Type="http://schemas.openxmlformats.org/officeDocument/2006/relationships/oleObject" Target="../embeddings/oleObject26.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g"/><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One">
    <p:bg>
      <p:bgPr>
        <a:solidFill>
          <a:schemeClr val="bg1"/>
        </a:solidFill>
        <a:effectLst/>
      </p:bgPr>
    </p:bg>
    <p:spTree>
      <p:nvGrpSpPr>
        <p:cNvPr id="1" name=""/>
        <p:cNvGrpSpPr/>
        <p:nvPr/>
      </p:nvGrpSpPr>
      <p:grpSpPr>
        <a:xfrm>
          <a:off x="0" y="0"/>
          <a:ext cx="0" cy="0"/>
          <a:chOff x="0" y="0"/>
          <a:chExt cx="0" cy="0"/>
        </a:xfrm>
      </p:grpSpPr>
      <p:pic>
        <p:nvPicPr>
          <p:cNvPr id="13" name="Picture Placeholder 10"/>
          <p:cNvPicPr>
            <a:picLocks noChangeAspect="1"/>
          </p:cNvPicPr>
          <p:nvPr userDrawn="1">
            <p:custDataLst>
              <p:tags r:id="rId1"/>
            </p:custDataLst>
          </p:nvPr>
        </p:nvPicPr>
        <p:blipFill rotWithShape="1">
          <a:blip r:embed="rId6" cstate="screen">
            <a:extLst>
              <a:ext uri="{28A0092B-C50C-407E-A947-70E740481C1C}">
                <a14:useLocalDpi xmlns:a14="http://schemas.microsoft.com/office/drawing/2010/main"/>
              </a:ext>
            </a:extLst>
          </a:blip>
          <a:srcRect l="19553" t="1223" r="35263"/>
          <a:stretch/>
        </p:blipFill>
        <p:spPr>
          <a:xfrm flipH="1">
            <a:off x="-4" y="1833564"/>
            <a:ext cx="7561263" cy="8859836"/>
          </a:xfrm>
          <a:prstGeom prst="rect">
            <a:avLst/>
          </a:prstGeom>
          <a:noFill/>
          <a:ln>
            <a:noFill/>
          </a:ln>
        </p:spPr>
      </p:pic>
      <p:sp>
        <p:nvSpPr>
          <p:cNvPr id="10"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25675031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14"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56"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38547499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with Imag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721590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0" name="Picture Placeholder 11"/>
          <p:cNvSpPr>
            <a:spLocks noGrp="1"/>
          </p:cNvSpPr>
          <p:nvPr>
            <p:ph type="pic" sz="quarter" idx="15"/>
            <p:custDataLst>
              <p:tags r:id="rId2"/>
            </p:custDataLst>
          </p:nvPr>
        </p:nvSpPr>
        <p:spPr>
          <a:xfrm>
            <a:off x="-17003" y="8414993"/>
            <a:ext cx="4217309" cy="2286027"/>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 name="connsiteX0" fmla="*/ 1811218 w 5391150"/>
              <a:gd name="connsiteY0" fmla="*/ 0 h 1943242"/>
              <a:gd name="connsiteX1" fmla="*/ 5391150 w 5391150"/>
              <a:gd name="connsiteY1" fmla="*/ 6492 h 1943242"/>
              <a:gd name="connsiteX2" fmla="*/ 4352925 w 5391150"/>
              <a:gd name="connsiteY2" fmla="*/ 1943242 h 1943242"/>
              <a:gd name="connsiteX3" fmla="*/ 0 w 5391150"/>
              <a:gd name="connsiteY3" fmla="*/ 1943242 h 1943242"/>
              <a:gd name="connsiteX4" fmla="*/ 1811218 w 5391150"/>
              <a:gd name="connsiteY4" fmla="*/ 0 h 1943242"/>
              <a:gd name="connsiteX0" fmla="*/ 0 w 3579932"/>
              <a:gd name="connsiteY0" fmla="*/ 0 h 1943242"/>
              <a:gd name="connsiteX1" fmla="*/ 3579932 w 3579932"/>
              <a:gd name="connsiteY1" fmla="*/ 6492 h 1943242"/>
              <a:gd name="connsiteX2" fmla="*/ 2541707 w 3579932"/>
              <a:gd name="connsiteY2" fmla="*/ 1943242 h 1943242"/>
              <a:gd name="connsiteX3" fmla="*/ 1090626 w 3579932"/>
              <a:gd name="connsiteY3" fmla="*/ 917534 h 1943242"/>
              <a:gd name="connsiteX4" fmla="*/ 0 w 3579932"/>
              <a:gd name="connsiteY4" fmla="*/ 0 h 1943242"/>
              <a:gd name="connsiteX0" fmla="*/ 12984 w 3592916"/>
              <a:gd name="connsiteY0" fmla="*/ 0 h 1949734"/>
              <a:gd name="connsiteX1" fmla="*/ 3592916 w 3592916"/>
              <a:gd name="connsiteY1" fmla="*/ 6492 h 1949734"/>
              <a:gd name="connsiteX2" fmla="*/ 2554691 w 3592916"/>
              <a:gd name="connsiteY2" fmla="*/ 1943242 h 1949734"/>
              <a:gd name="connsiteX3" fmla="*/ 0 w 3592916"/>
              <a:gd name="connsiteY3" fmla="*/ 1949734 h 1949734"/>
              <a:gd name="connsiteX4" fmla="*/ 12984 w 3592916"/>
              <a:gd name="connsiteY4" fmla="*/ 0 h 1949734"/>
              <a:gd name="connsiteX0" fmla="*/ 0 w 3599408"/>
              <a:gd name="connsiteY0" fmla="*/ 6492 h 1943242"/>
              <a:gd name="connsiteX1" fmla="*/ 3599408 w 3599408"/>
              <a:gd name="connsiteY1" fmla="*/ 0 h 1943242"/>
              <a:gd name="connsiteX2" fmla="*/ 2561183 w 3599408"/>
              <a:gd name="connsiteY2" fmla="*/ 1936750 h 1943242"/>
              <a:gd name="connsiteX3" fmla="*/ 6492 w 3599408"/>
              <a:gd name="connsiteY3" fmla="*/ 1943242 h 1943242"/>
              <a:gd name="connsiteX4" fmla="*/ 0 w 3599408"/>
              <a:gd name="connsiteY4" fmla="*/ 6492 h 1943242"/>
              <a:gd name="connsiteX0" fmla="*/ 9738 w 3592916"/>
              <a:gd name="connsiteY0" fmla="*/ 0 h 1947570"/>
              <a:gd name="connsiteX1" fmla="*/ 3592916 w 3592916"/>
              <a:gd name="connsiteY1" fmla="*/ 4328 h 1947570"/>
              <a:gd name="connsiteX2" fmla="*/ 2554691 w 3592916"/>
              <a:gd name="connsiteY2" fmla="*/ 1941078 h 1947570"/>
              <a:gd name="connsiteX3" fmla="*/ 0 w 3592916"/>
              <a:gd name="connsiteY3" fmla="*/ 1947570 h 1947570"/>
              <a:gd name="connsiteX4" fmla="*/ 9738 w 3592916"/>
              <a:gd name="connsiteY4" fmla="*/ 0 h 194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916" h="1947570">
                <a:moveTo>
                  <a:pt x="9738" y="0"/>
                </a:moveTo>
                <a:lnTo>
                  <a:pt x="3592916" y="4328"/>
                </a:lnTo>
                <a:lnTo>
                  <a:pt x="2554691" y="1941078"/>
                </a:lnTo>
                <a:lnTo>
                  <a:pt x="0" y="1947570"/>
                </a:lnTo>
                <a:lnTo>
                  <a:pt x="9738" y="0"/>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19" name="Picture Placeholder 10"/>
          <p:cNvSpPr>
            <a:spLocks noGrp="1"/>
          </p:cNvSpPr>
          <p:nvPr>
            <p:ph type="pic" sz="quarter" idx="14"/>
            <p:custDataLst>
              <p:tags r:id="rId3"/>
            </p:custDataLst>
          </p:nvPr>
        </p:nvSpPr>
        <p:spPr>
          <a:xfrm>
            <a:off x="3143169" y="8414993"/>
            <a:ext cx="4420779" cy="228443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 name="connsiteX0" fmla="*/ 1051374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51374 w 4568825"/>
              <a:gd name="connsiteY4" fmla="*/ 0 h 1936750"/>
              <a:gd name="connsiteX0" fmla="*/ 1039324 w 4556775"/>
              <a:gd name="connsiteY0" fmla="*/ 0 h 1936750"/>
              <a:gd name="connsiteX1" fmla="*/ 4556775 w 4556775"/>
              <a:gd name="connsiteY1" fmla="*/ 0 h 1936750"/>
              <a:gd name="connsiteX2" fmla="*/ 4556775 w 4556775"/>
              <a:gd name="connsiteY2" fmla="*/ 1936750 h 1936750"/>
              <a:gd name="connsiteX3" fmla="*/ 0 w 4556775"/>
              <a:gd name="connsiteY3" fmla="*/ 1936750 h 1936750"/>
              <a:gd name="connsiteX4" fmla="*/ 1039324 w 4556775"/>
              <a:gd name="connsiteY4" fmla="*/ 0 h 1936750"/>
              <a:gd name="connsiteX0" fmla="*/ 1039324 w 4556775"/>
              <a:gd name="connsiteY0" fmla="*/ 2705 h 1939455"/>
              <a:gd name="connsiteX1" fmla="*/ 3707428 w 4556775"/>
              <a:gd name="connsiteY1" fmla="*/ 0 h 1939455"/>
              <a:gd name="connsiteX2" fmla="*/ 4556775 w 4556775"/>
              <a:gd name="connsiteY2" fmla="*/ 1939455 h 1939455"/>
              <a:gd name="connsiteX3" fmla="*/ 0 w 4556775"/>
              <a:gd name="connsiteY3" fmla="*/ 1939455 h 1939455"/>
              <a:gd name="connsiteX4" fmla="*/ 1039324 w 4556775"/>
              <a:gd name="connsiteY4" fmla="*/ 2705 h 1939455"/>
              <a:gd name="connsiteX0" fmla="*/ 1039324 w 3707428"/>
              <a:gd name="connsiteY0" fmla="*/ 2705 h 1939455"/>
              <a:gd name="connsiteX1" fmla="*/ 3707428 w 3707428"/>
              <a:gd name="connsiteY1" fmla="*/ 0 h 1939455"/>
              <a:gd name="connsiteX2" fmla="*/ 3031197 w 3707428"/>
              <a:gd name="connsiteY2" fmla="*/ 1728471 h 1939455"/>
              <a:gd name="connsiteX3" fmla="*/ 0 w 3707428"/>
              <a:gd name="connsiteY3" fmla="*/ 1939455 h 1939455"/>
              <a:gd name="connsiteX4" fmla="*/ 1039324 w 3707428"/>
              <a:gd name="connsiteY4" fmla="*/ 2705 h 1939455"/>
              <a:gd name="connsiteX0" fmla="*/ 1039324 w 3707429"/>
              <a:gd name="connsiteY0" fmla="*/ 2705 h 1950275"/>
              <a:gd name="connsiteX1" fmla="*/ 3707428 w 3707429"/>
              <a:gd name="connsiteY1" fmla="*/ 0 h 1950275"/>
              <a:gd name="connsiteX2" fmla="*/ 3707429 w 3707429"/>
              <a:gd name="connsiteY2" fmla="*/ 1950275 h 1950275"/>
              <a:gd name="connsiteX3" fmla="*/ 0 w 3707429"/>
              <a:gd name="connsiteY3" fmla="*/ 1939455 h 1950275"/>
              <a:gd name="connsiteX4" fmla="*/ 1039324 w 3707429"/>
              <a:gd name="connsiteY4" fmla="*/ 2705 h 1950275"/>
              <a:gd name="connsiteX0" fmla="*/ 1039324 w 3739887"/>
              <a:gd name="connsiteY0" fmla="*/ 2705 h 1950275"/>
              <a:gd name="connsiteX1" fmla="*/ 3739887 w 3739887"/>
              <a:gd name="connsiteY1" fmla="*/ 0 h 1950275"/>
              <a:gd name="connsiteX2" fmla="*/ 3707429 w 3739887"/>
              <a:gd name="connsiteY2" fmla="*/ 1950275 h 1950275"/>
              <a:gd name="connsiteX3" fmla="*/ 0 w 3739887"/>
              <a:gd name="connsiteY3" fmla="*/ 1939455 h 1950275"/>
              <a:gd name="connsiteX4" fmla="*/ 1039324 w 3739887"/>
              <a:gd name="connsiteY4" fmla="*/ 2705 h 1950275"/>
              <a:gd name="connsiteX0" fmla="*/ 1039324 w 3739887"/>
              <a:gd name="connsiteY0" fmla="*/ 2705 h 1950275"/>
              <a:gd name="connsiteX1" fmla="*/ 3739887 w 3739887"/>
              <a:gd name="connsiteY1" fmla="*/ 0 h 1950275"/>
              <a:gd name="connsiteX2" fmla="*/ 3735831 w 3739887"/>
              <a:gd name="connsiteY2" fmla="*/ 1950275 h 1950275"/>
              <a:gd name="connsiteX3" fmla="*/ 0 w 3739887"/>
              <a:gd name="connsiteY3" fmla="*/ 1939455 h 1950275"/>
              <a:gd name="connsiteX4" fmla="*/ 1039324 w 3739887"/>
              <a:gd name="connsiteY4" fmla="*/ 2705 h 1950275"/>
              <a:gd name="connsiteX0" fmla="*/ 1039324 w 3766260"/>
              <a:gd name="connsiteY0" fmla="*/ 2705 h 1950275"/>
              <a:gd name="connsiteX1" fmla="*/ 3766260 w 3766260"/>
              <a:gd name="connsiteY1" fmla="*/ 0 h 1950275"/>
              <a:gd name="connsiteX2" fmla="*/ 3735831 w 3766260"/>
              <a:gd name="connsiteY2" fmla="*/ 1950275 h 1950275"/>
              <a:gd name="connsiteX3" fmla="*/ 0 w 3766260"/>
              <a:gd name="connsiteY3" fmla="*/ 1939455 h 1950275"/>
              <a:gd name="connsiteX4" fmla="*/ 1039324 w 3766260"/>
              <a:gd name="connsiteY4" fmla="*/ 2705 h 1950275"/>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6262" h="1946217">
                <a:moveTo>
                  <a:pt x="1039324" y="2705"/>
                </a:moveTo>
                <a:lnTo>
                  <a:pt x="3766260" y="0"/>
                </a:lnTo>
                <a:cubicBezTo>
                  <a:pt x="3766261" y="973108"/>
                  <a:pt x="3766261" y="973108"/>
                  <a:pt x="3766262" y="1946217"/>
                </a:cubicBezTo>
                <a:lnTo>
                  <a:pt x="0" y="1939455"/>
                </a:lnTo>
                <a:lnTo>
                  <a:pt x="1039324" y="2705"/>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p:cNvSpPr>
            <a:spLocks noGrp="1"/>
          </p:cNvSpPr>
          <p:nvPr>
            <p:ph type="body" sz="quarter" idx="16"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cxnSp>
        <p:nvCxnSpPr>
          <p:cNvPr id="11" name="Straight Connector 10"/>
          <p:cNvCxnSpPr/>
          <p:nvPr userDrawn="1">
            <p:custDataLst>
              <p:tags r:id="rId5"/>
            </p:custDataLst>
          </p:nvPr>
        </p:nvCxnSpPr>
        <p:spPr>
          <a:xfrm>
            <a:off x="684000" y="1330185"/>
            <a:ext cx="6228000" cy="0"/>
          </a:xfrm>
          <a:prstGeom prst="line">
            <a:avLst/>
          </a:prstGeom>
          <a:ln w="190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553789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344895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9009992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3998"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4"/>
          <p:cNvSpPr>
            <a:spLocks noGrp="1"/>
          </p:cNvSpPr>
          <p:nvPr>
            <p:ph type="body" sz="quarter" idx="12"/>
          </p:nvPr>
        </p:nvSpPr>
        <p:spPr>
          <a:xfrm>
            <a:off x="2835780"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4"/>
          <p:cNvSpPr>
            <a:spLocks noGrp="1"/>
          </p:cNvSpPr>
          <p:nvPr>
            <p:ph type="body" sz="quarter" idx="13"/>
          </p:nvPr>
        </p:nvSpPr>
        <p:spPr>
          <a:xfrm>
            <a:off x="4987562"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81564525"/>
      </p:ext>
    </p:extLst>
  </p:cSld>
  <p:clrMapOvr>
    <a:masterClrMapping/>
  </p:clrMapOvr>
  <p:extLst>
    <p:ext uri="{DCECCB84-F9BA-43D5-87BE-67443E8EF086}">
      <p15:sldGuideLst xmlns:p15="http://schemas.microsoft.com/office/powerpoint/2012/main">
        <p15:guide id="1" pos="1656" userDrawn="1">
          <p15:clr>
            <a:srgbClr val="FBAE40"/>
          </p15:clr>
        </p15:guide>
        <p15:guide id="2" pos="1792" userDrawn="1">
          <p15:clr>
            <a:srgbClr val="FBAE40"/>
          </p15:clr>
        </p15:guide>
        <p15:guide id="3" pos="2994" userDrawn="1">
          <p15:clr>
            <a:srgbClr val="FBAE40"/>
          </p15:clr>
        </p15:guide>
        <p15:guide id="4" pos="313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946751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Half Page Image">
    <p:spTree>
      <p:nvGrpSpPr>
        <p:cNvPr id="1" name=""/>
        <p:cNvGrpSpPr/>
        <p:nvPr/>
      </p:nvGrpSpPr>
      <p:grpSpPr>
        <a:xfrm>
          <a:off x="0" y="0"/>
          <a:ext cx="0" cy="0"/>
          <a:chOff x="0" y="0"/>
          <a:chExt cx="0" cy="0"/>
        </a:xfrm>
      </p:grpSpPr>
      <p:sp>
        <p:nvSpPr>
          <p:cNvPr id="9" name="Picture Placeholder 5"/>
          <p:cNvSpPr>
            <a:spLocks noGrp="1"/>
          </p:cNvSpPr>
          <p:nvPr>
            <p:ph type="pic" sz="quarter" idx="15"/>
          </p:nvPr>
        </p:nvSpPr>
        <p:spPr>
          <a:xfrm>
            <a:off x="3889375" y="1817689"/>
            <a:ext cx="3024187" cy="7988711"/>
          </a:xfrm>
          <a:prstGeom prst="rect">
            <a:avLst/>
          </a:prstGeom>
          <a:solidFill>
            <a:schemeClr val="bg1">
              <a:lumMod val="95000"/>
            </a:schemeClr>
          </a:solidFill>
        </p:spPr>
        <p:txBody>
          <a:bodyPr anchor="ctr" anchorCtr="1">
            <a:noAutofit/>
          </a:bodyPr>
          <a:lstStyle>
            <a:lvl1pPr>
              <a:defRPr>
                <a:solidFill>
                  <a:schemeClr val="tx1"/>
                </a:solidFill>
              </a:defRPr>
            </a:lvl1pPr>
          </a:lstStyle>
          <a:p>
            <a:r>
              <a:rPr lang="en-US" dirty="0"/>
              <a:t>Click icon to add picture</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82538000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allout One">
    <p:spTree>
      <p:nvGrpSpPr>
        <p:cNvPr id="1" name=""/>
        <p:cNvGrpSpPr/>
        <p:nvPr/>
      </p:nvGrpSpPr>
      <p:grpSpPr>
        <a:xfrm>
          <a:off x="0" y="0"/>
          <a:ext cx="0" cy="0"/>
          <a:chOff x="0" y="0"/>
          <a:chExt cx="0" cy="0"/>
        </a:xfrm>
      </p:grpSpPr>
      <p:sp>
        <p:nvSpPr>
          <p:cNvPr id="10"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4" name="Freeform 13"/>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73953675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3594417"/>
            <a:ext cx="2978150" cy="304699"/>
          </a:xfrm>
          <a:prstGeom prst="rect">
            <a:avLst/>
          </a:prstGeom>
        </p:spPr>
        <p:txBody>
          <a:bodyPr vert="horz" wrap="square" lIns="0" tIns="0" rIns="0" bIns="0" rtlCol="0">
            <a:spAutoFit/>
          </a:bodyPr>
          <a:lstStyle>
            <a:lvl1pPr>
              <a:defRPr lang="en-US" sz="1800" smtClean="0">
                <a:solidFill>
                  <a:schemeClr val="bg1"/>
                </a:solidFill>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1198800"/>
            <a:ext cx="4235450" cy="1625060"/>
          </a:xfrm>
          <a:prstGeom prst="rect">
            <a:avLst/>
          </a:prstGeom>
        </p:spPr>
        <p:txBody>
          <a:bodyPr wrap="square">
            <a:spAutoFit/>
          </a:bodyPr>
          <a:lstStyle>
            <a:lvl1pPr>
              <a:lnSpc>
                <a:spcPct val="80000"/>
              </a:lnSpc>
              <a:spcAft>
                <a:spcPts val="0"/>
              </a:spcAft>
              <a:defRPr sz="6600" b="0" baseline="0">
                <a:solidFill>
                  <a:schemeClr val="bg1"/>
                </a:solidFill>
              </a:defRPr>
            </a:lvl1pPr>
          </a:lstStyle>
          <a:p>
            <a:pPr lvl="0"/>
            <a:r>
              <a:rPr lang="en-US" dirty="0"/>
              <a:t>Callout </a:t>
            </a:r>
            <a:br>
              <a:rPr lang="en-US" dirty="0"/>
            </a:br>
            <a:r>
              <a:rPr lang="en-US" dirty="0"/>
              <a:t>text</a:t>
            </a:r>
          </a:p>
        </p:txBody>
      </p:sp>
    </p:spTree>
    <p:extLst>
      <p:ext uri="{BB962C8B-B14F-4D97-AF65-F5344CB8AC3E}">
        <p14:creationId xmlns:p14="http://schemas.microsoft.com/office/powerpoint/2010/main" val="3535358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allout Two">
    <p:spTree>
      <p:nvGrpSpPr>
        <p:cNvPr id="1" name=""/>
        <p:cNvGrpSpPr/>
        <p:nvPr/>
      </p:nvGrpSpPr>
      <p:grpSpPr>
        <a:xfrm>
          <a:off x="0" y="0"/>
          <a:ext cx="0" cy="0"/>
          <a:chOff x="0" y="0"/>
          <a:chExt cx="0" cy="0"/>
        </a:xfrm>
      </p:grpSpPr>
      <p:sp>
        <p:nvSpPr>
          <p:cNvPr id="9"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0" name="Freeform 9"/>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8428703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2934344"/>
            <a:ext cx="2479626" cy="304699"/>
          </a:xfrm>
          <a:prstGeom prst="rect">
            <a:avLst/>
          </a:prstGeom>
        </p:spPr>
        <p:txBody>
          <a:bodyPr vert="horz" wrap="square" lIns="0" tIns="0" rIns="0" bIns="0" rtlCol="0">
            <a:spAutoFit/>
          </a:bodyPr>
          <a:lstStyle>
            <a:lvl1pPr>
              <a:defRPr lang="en-US" sz="1800" i="1" smtClean="0">
                <a:solidFill>
                  <a:schemeClr val="bg1"/>
                </a:solidFill>
                <a:latin typeface="Georgia" panose="02040502050405020303" pitchFamily="18" charset="0"/>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990089"/>
            <a:ext cx="4037013" cy="1231106"/>
          </a:xfrm>
          <a:prstGeom prst="rect">
            <a:avLst/>
          </a:prstGeom>
        </p:spPr>
        <p:txBody>
          <a:bodyPr wrap="square">
            <a:spAutoFit/>
          </a:bodyPr>
          <a:lstStyle>
            <a:lvl1pPr>
              <a:lnSpc>
                <a:spcPct val="80000"/>
              </a:lnSpc>
              <a:spcAft>
                <a:spcPts val="0"/>
              </a:spcAft>
              <a:defRPr sz="10000" b="0" i="1" baseline="0">
                <a:solidFill>
                  <a:schemeClr val="bg1"/>
                </a:solidFill>
                <a:latin typeface="Georgia" panose="02040502050405020303" pitchFamily="18" charset="0"/>
              </a:defRPr>
            </a:lvl1pPr>
          </a:lstStyle>
          <a:p>
            <a:pPr lvl="0"/>
            <a:r>
              <a:rPr lang="en-US" dirty="0"/>
              <a:t>##</a:t>
            </a:r>
          </a:p>
        </p:txBody>
      </p:sp>
    </p:spTree>
    <p:extLst>
      <p:ext uri="{BB962C8B-B14F-4D97-AF65-F5344CB8AC3E}">
        <p14:creationId xmlns:p14="http://schemas.microsoft.com/office/powerpoint/2010/main" val="3463568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Message On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884399" y="1817688"/>
            <a:ext cx="3029163" cy="7988712"/>
          </a:xfrm>
          <a:prstGeom prst="rect">
            <a:avLst/>
          </a:prstGeom>
          <a:solidFill>
            <a:schemeClr val="bg2"/>
          </a:solidFill>
        </p:spPr>
        <p:txBody>
          <a:bodyPr lIns="108000" tIns="72000" rIns="72000" bIns="72000">
            <a:noAutofit/>
          </a:bodyPr>
          <a:lstStyle>
            <a:lvl1pPr>
              <a:defRPr sz="1200" i="1">
                <a:solidFill>
                  <a:schemeClr val="bg1"/>
                </a:solidFill>
                <a:latin typeface="Georgia" panose="02040502050405020303" pitchFamily="18" charset="0"/>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12489049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e Tw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8255" y="1817688"/>
            <a:ext cx="3015308" cy="8002567"/>
          </a:xfrm>
          <a:prstGeom prst="rect">
            <a:avLst/>
          </a:prstGeom>
          <a:noFill/>
        </p:spPr>
        <p:txBody>
          <a:bodyPr lIns="0" tIns="0" rIns="0" bIns="0">
            <a:noAutofit/>
          </a:bodyPr>
          <a:lstStyle>
            <a:lvl1pPr>
              <a:defRPr sz="3200" i="1" baseline="0">
                <a:solidFill>
                  <a:schemeClr val="tx2"/>
                </a:solidFill>
                <a:latin typeface="Georgia" panose="02040502050405020303" pitchFamily="18" charset="0"/>
              </a:defRPr>
            </a:lvl1pPr>
            <a:lvl2pPr>
              <a:defRPr sz="1100" i="1" baseline="0">
                <a:solidFill>
                  <a:schemeClr val="tx2"/>
                </a:solidFill>
                <a:latin typeface="Georgia" panose="02040502050405020303" pitchFamily="18" charset="0"/>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dirty="0"/>
              <a:t>Pulled Quote</a:t>
            </a:r>
            <a:br>
              <a:rPr lang="en-US" dirty="0"/>
            </a:br>
            <a:r>
              <a:rPr lang="en-US" dirty="0"/>
              <a:t>Number</a:t>
            </a:r>
          </a:p>
          <a:p>
            <a:pPr lvl="1"/>
            <a:r>
              <a:rPr lang="en-US" sz="1100" dirty="0">
                <a:latin typeface="Georgia" panose="02040502050405020303" pitchFamily="18" charset="0"/>
              </a:rPr>
              <a:t>Key message information</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6"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067116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w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347239731"/>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12252" cy="224510"/>
                      </a:xfrm>
                      <a:prstGeom prst="rect">
                        <a:avLst/>
                      </a:prstGeom>
                    </p:spPr>
                  </p:pic>
                </p:oleObj>
              </mc:Fallback>
            </mc:AlternateContent>
          </a:graphicData>
        </a:graphic>
      </p:graphicFrame>
      <p:pic>
        <p:nvPicPr>
          <p:cNvPr id="9" name="Picture Placeholder 36"/>
          <p:cNvPicPr>
            <a:picLocks noChangeAspect="1"/>
          </p:cNvPicPr>
          <p:nvPr userDrawn="1">
            <p:custDataLst>
              <p:tags r:id="rId2"/>
            </p:custDataLst>
          </p:nvPr>
        </p:nvPicPr>
        <p:blipFill rotWithShape="1">
          <a:blip r:embed="rId8" cstate="screen">
            <a:extLst>
              <a:ext uri="{28A0092B-C50C-407E-A947-70E740481C1C}">
                <a14:useLocalDpi xmlns:a14="http://schemas.microsoft.com/office/drawing/2010/main"/>
              </a:ext>
            </a:extLst>
          </a:blip>
          <a:srcRect l="4069" t="8935" r="51913" b="7972"/>
          <a:stretch/>
        </p:blipFill>
        <p:spPr>
          <a:xfrm flipH="1">
            <a:off x="988" y="0"/>
            <a:ext cx="7560273" cy="10690171"/>
          </a:xfrm>
          <a:prstGeom prst="rect">
            <a:avLst/>
          </a:prstGeom>
          <a:noFill/>
          <a:ln>
            <a:noFill/>
          </a:ln>
        </p:spPr>
      </p:pic>
      <p:sp>
        <p:nvSpPr>
          <p:cNvPr id="7"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15"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562209"/>
            <a:ext cx="2165429" cy="591034"/>
          </a:xfrm>
          <a:prstGeom prst="rect">
            <a:avLst/>
          </a:prstGeom>
        </p:spPr>
      </p:pic>
    </p:spTree>
    <p:extLst>
      <p:ext uri="{BB962C8B-B14F-4D97-AF65-F5344CB8AC3E}">
        <p14:creationId xmlns:p14="http://schemas.microsoft.com/office/powerpoint/2010/main" val="37649021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61457736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Picture Placeholder 18"/>
          <p:cNvSpPr>
            <a:spLocks noGrp="1"/>
          </p:cNvSpPr>
          <p:nvPr>
            <p:ph type="pic" sz="quarter" idx="12"/>
          </p:nvPr>
        </p:nvSpPr>
        <p:spPr>
          <a:xfrm>
            <a:off x="1830388" y="1829783"/>
            <a:ext cx="5737168" cy="8863617"/>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0 w 3791709"/>
              <a:gd name="connsiteY4" fmla="*/ 5094454 h 5094454"/>
              <a:gd name="connsiteX5" fmla="*/ 2678589 w 3791709"/>
              <a:gd name="connsiteY5"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3287361 w 3791709"/>
              <a:gd name="connsiteY4" fmla="*/ 5079888 h 5094454"/>
              <a:gd name="connsiteX5" fmla="*/ 0 w 3791709"/>
              <a:gd name="connsiteY5" fmla="*/ 5094454 h 5094454"/>
              <a:gd name="connsiteX6" fmla="*/ 2678589 w 3791709"/>
              <a:gd name="connsiteY6"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287361 w 3791709"/>
              <a:gd name="connsiteY3" fmla="*/ 5079888 h 5094454"/>
              <a:gd name="connsiteX4" fmla="*/ 0 w 3791709"/>
              <a:gd name="connsiteY4" fmla="*/ 5094454 h 5094454"/>
              <a:gd name="connsiteX5" fmla="*/ 2678589 w 3791709"/>
              <a:gd name="connsiteY5" fmla="*/ 13657 h 5094454"/>
              <a:gd name="connsiteX0" fmla="*/ 2678589 w 3287361"/>
              <a:gd name="connsiteY0" fmla="*/ 13657 h 5094454"/>
              <a:gd name="connsiteX1" fmla="*/ 3276437 w 3287361"/>
              <a:gd name="connsiteY1" fmla="*/ 0 h 5094454"/>
              <a:gd name="connsiteX2" fmla="*/ 3287361 w 3287361"/>
              <a:gd name="connsiteY2" fmla="*/ 5079888 h 5094454"/>
              <a:gd name="connsiteX3" fmla="*/ 0 w 3287361"/>
              <a:gd name="connsiteY3" fmla="*/ 5094454 h 5094454"/>
              <a:gd name="connsiteX4" fmla="*/ 2678589 w 3287361"/>
              <a:gd name="connsiteY4" fmla="*/ 13657 h 5094454"/>
              <a:gd name="connsiteX0" fmla="*/ 2678589 w 3288412"/>
              <a:gd name="connsiteY0" fmla="*/ 6374 h 5087171"/>
              <a:gd name="connsiteX1" fmla="*/ 3287362 w 3288412"/>
              <a:gd name="connsiteY1" fmla="*/ 0 h 5087171"/>
              <a:gd name="connsiteX2" fmla="*/ 3287361 w 3288412"/>
              <a:gd name="connsiteY2" fmla="*/ 5072605 h 5087171"/>
              <a:gd name="connsiteX3" fmla="*/ 0 w 3288412"/>
              <a:gd name="connsiteY3" fmla="*/ 5087171 h 5087171"/>
              <a:gd name="connsiteX4" fmla="*/ 2678589 w 3288412"/>
              <a:gd name="connsiteY4" fmla="*/ 6374 h 5087171"/>
              <a:gd name="connsiteX0" fmla="*/ 2678589 w 3287361"/>
              <a:gd name="connsiteY0" fmla="*/ 1429 h 5082226"/>
              <a:gd name="connsiteX1" fmla="*/ 3281900 w 3287361"/>
              <a:gd name="connsiteY1" fmla="*/ 517 h 5082226"/>
              <a:gd name="connsiteX2" fmla="*/ 3287361 w 3287361"/>
              <a:gd name="connsiteY2" fmla="*/ 5067660 h 5082226"/>
              <a:gd name="connsiteX3" fmla="*/ 0 w 3287361"/>
              <a:gd name="connsiteY3" fmla="*/ 5082226 h 5082226"/>
              <a:gd name="connsiteX4" fmla="*/ 2678589 w 3287361"/>
              <a:gd name="connsiteY4" fmla="*/ 1429 h 5082226"/>
              <a:gd name="connsiteX0" fmla="*/ 2678589 w 3290060"/>
              <a:gd name="connsiteY0" fmla="*/ 1429 h 5082226"/>
              <a:gd name="connsiteX1" fmla="*/ 3289183 w 3290060"/>
              <a:gd name="connsiteY1" fmla="*/ 517 h 5082226"/>
              <a:gd name="connsiteX2" fmla="*/ 3287361 w 3290060"/>
              <a:gd name="connsiteY2" fmla="*/ 5067660 h 5082226"/>
              <a:gd name="connsiteX3" fmla="*/ 0 w 3290060"/>
              <a:gd name="connsiteY3" fmla="*/ 5082226 h 5082226"/>
              <a:gd name="connsiteX4" fmla="*/ 2678589 w 3290060"/>
              <a:gd name="connsiteY4" fmla="*/ 1429 h 5082226"/>
              <a:gd name="connsiteX0" fmla="*/ 2678589 w 3290060"/>
              <a:gd name="connsiteY0" fmla="*/ 2169 h 5082966"/>
              <a:gd name="connsiteX1" fmla="*/ 3289183 w 3290060"/>
              <a:gd name="connsiteY1" fmla="*/ 1257 h 5082966"/>
              <a:gd name="connsiteX2" fmla="*/ 3287361 w 3290060"/>
              <a:gd name="connsiteY2" fmla="*/ 5068400 h 5082966"/>
              <a:gd name="connsiteX3" fmla="*/ 0 w 3290060"/>
              <a:gd name="connsiteY3" fmla="*/ 5082966 h 5082966"/>
              <a:gd name="connsiteX4" fmla="*/ 2678589 w 3290060"/>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0060" h="5082966">
                <a:moveTo>
                  <a:pt x="2678589" y="2169"/>
                </a:moveTo>
                <a:cubicBezTo>
                  <a:pt x="2877872" y="-2383"/>
                  <a:pt x="2983886" y="1713"/>
                  <a:pt x="3289183" y="1257"/>
                </a:cubicBezTo>
                <a:cubicBezTo>
                  <a:pt x="3292824" y="1694553"/>
                  <a:pt x="3283720" y="3387849"/>
                  <a:pt x="3287361" y="5081145"/>
                </a:cubicBezTo>
                <a:lnTo>
                  <a:pt x="0" y="5082966"/>
                </a:lnTo>
                <a:lnTo>
                  <a:pt x="2678589" y="2169"/>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6"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321292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wo">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88128599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Freeform 9"/>
          <p:cNvSpPr/>
          <p:nvPr userDrawn="1"/>
        </p:nvSpPr>
        <p:spPr>
          <a:xfrm flipV="1">
            <a:off x="4168806" y="1835150"/>
            <a:ext cx="3394045" cy="4417000"/>
          </a:xfrm>
          <a:custGeom>
            <a:avLst/>
            <a:gdLst>
              <a:gd name="connsiteX0" fmla="*/ 2324070 w 3394045"/>
              <a:gd name="connsiteY0" fmla="*/ 4417000 h 4417000"/>
              <a:gd name="connsiteX1" fmla="*/ 3394045 w 3394045"/>
              <a:gd name="connsiteY1" fmla="*/ 4417000 h 4417000"/>
              <a:gd name="connsiteX2" fmla="*/ 3394045 w 3394045"/>
              <a:gd name="connsiteY2" fmla="*/ 0 h 4417000"/>
              <a:gd name="connsiteX3" fmla="*/ 0 w 3394045"/>
              <a:gd name="connsiteY3" fmla="*/ 0 h 4417000"/>
              <a:gd name="connsiteX4" fmla="*/ 2324070 w 3394045"/>
              <a:gd name="connsiteY4" fmla="*/ 4417000 h 441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045" h="4417000">
                <a:moveTo>
                  <a:pt x="2324070" y="4417000"/>
                </a:moveTo>
                <a:lnTo>
                  <a:pt x="3394045" y="4417000"/>
                </a:lnTo>
                <a:lnTo>
                  <a:pt x="3394045" y="0"/>
                </a:lnTo>
                <a:lnTo>
                  <a:pt x="0" y="0"/>
                </a:lnTo>
                <a:lnTo>
                  <a:pt x="2324070" y="4417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sp>
        <p:nvSpPr>
          <p:cNvPr id="13" name="Picture Placeholder 18"/>
          <p:cNvSpPr>
            <a:spLocks noGrp="1"/>
          </p:cNvSpPr>
          <p:nvPr>
            <p:ph type="pic" sz="quarter" idx="13" hasCustomPrompt="1"/>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7"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3096062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hre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2473783290"/>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7" name="Picture Placeholder 14"/>
          <p:cNvSpPr>
            <a:spLocks noGrp="1"/>
          </p:cNvSpPr>
          <p:nvPr>
            <p:ph type="pic" sz="quarter" idx="18"/>
            <p:custDataLst>
              <p:tags r:id="rId3"/>
            </p:custDataLst>
          </p:nvPr>
        </p:nvSpPr>
        <p:spPr>
          <a:xfrm>
            <a:off x="4179237" y="1813211"/>
            <a:ext cx="3393137" cy="4442446"/>
          </a:xfrm>
          <a:custGeom>
            <a:avLst/>
            <a:gdLst>
              <a:gd name="connsiteX0" fmla="*/ 0 w 5600700"/>
              <a:gd name="connsiteY0" fmla="*/ 6127560 h 6128669"/>
              <a:gd name="connsiteX1" fmla="*/ 2109 w 5600700"/>
              <a:gd name="connsiteY1" fmla="*/ 6128669 h 6128669"/>
              <a:gd name="connsiteX2" fmla="*/ 0 w 5600700"/>
              <a:gd name="connsiteY2" fmla="*/ 6128669 h 6128669"/>
              <a:gd name="connsiteX3" fmla="*/ 3229524 w 5600700"/>
              <a:gd name="connsiteY3" fmla="*/ 0 h 6128669"/>
              <a:gd name="connsiteX4" fmla="*/ 5600700 w 5600700"/>
              <a:gd name="connsiteY4" fmla="*/ 0 h 6128669"/>
              <a:gd name="connsiteX5" fmla="*/ 5600700 w 5600700"/>
              <a:gd name="connsiteY5" fmla="*/ 6128669 h 6128669"/>
              <a:gd name="connsiteX6" fmla="*/ 2109 w 5600700"/>
              <a:gd name="connsiteY6" fmla="*/ 6128669 h 6128669"/>
              <a:gd name="connsiteX0" fmla="*/ 188391 w 5789091"/>
              <a:gd name="connsiteY0" fmla="*/ 6127560 h 6142896"/>
              <a:gd name="connsiteX1" fmla="*/ 190500 w 5789091"/>
              <a:gd name="connsiteY1" fmla="*/ 6128669 h 6142896"/>
              <a:gd name="connsiteX2" fmla="*/ 188391 w 5789091"/>
              <a:gd name="connsiteY2" fmla="*/ 6128669 h 6142896"/>
              <a:gd name="connsiteX3" fmla="*/ 188391 w 5789091"/>
              <a:gd name="connsiteY3" fmla="*/ 6127560 h 6142896"/>
              <a:gd name="connsiteX4" fmla="*/ 3417915 w 5789091"/>
              <a:gd name="connsiteY4" fmla="*/ 0 h 6142896"/>
              <a:gd name="connsiteX5" fmla="*/ 5789091 w 5789091"/>
              <a:gd name="connsiteY5" fmla="*/ 0 h 6142896"/>
              <a:gd name="connsiteX6" fmla="*/ 5789091 w 5789091"/>
              <a:gd name="connsiteY6" fmla="*/ 6128669 h 6142896"/>
              <a:gd name="connsiteX7" fmla="*/ 0 w 5789091"/>
              <a:gd name="connsiteY7" fmla="*/ 6142896 h 6142896"/>
              <a:gd name="connsiteX8" fmla="*/ 3417915 w 5789091"/>
              <a:gd name="connsiteY8" fmla="*/ 0 h 6142896"/>
              <a:gd name="connsiteX0" fmla="*/ 188391 w 5789091"/>
              <a:gd name="connsiteY0" fmla="*/ 6128669 h 6142896"/>
              <a:gd name="connsiteX1" fmla="*/ 190500 w 5789091"/>
              <a:gd name="connsiteY1" fmla="*/ 6128669 h 6142896"/>
              <a:gd name="connsiteX2" fmla="*/ 188391 w 5789091"/>
              <a:gd name="connsiteY2" fmla="*/ 6128669 h 6142896"/>
              <a:gd name="connsiteX3" fmla="*/ 3417915 w 5789091"/>
              <a:gd name="connsiteY3" fmla="*/ 0 h 6142896"/>
              <a:gd name="connsiteX4" fmla="*/ 5789091 w 5789091"/>
              <a:gd name="connsiteY4" fmla="*/ 0 h 6142896"/>
              <a:gd name="connsiteX5" fmla="*/ 5789091 w 5789091"/>
              <a:gd name="connsiteY5" fmla="*/ 6128669 h 6142896"/>
              <a:gd name="connsiteX6" fmla="*/ 0 w 5789091"/>
              <a:gd name="connsiteY6" fmla="*/ 6142896 h 6142896"/>
              <a:gd name="connsiteX7" fmla="*/ 3417915 w 5789091"/>
              <a:gd name="connsiteY7" fmla="*/ 0 h 6142896"/>
              <a:gd name="connsiteX0" fmla="*/ 3417915 w 5789091"/>
              <a:gd name="connsiteY0" fmla="*/ 0 h 6142896"/>
              <a:gd name="connsiteX1" fmla="*/ 5789091 w 5789091"/>
              <a:gd name="connsiteY1" fmla="*/ 0 h 6142896"/>
              <a:gd name="connsiteX2" fmla="*/ 5789091 w 5789091"/>
              <a:gd name="connsiteY2" fmla="*/ 6128669 h 6142896"/>
              <a:gd name="connsiteX3" fmla="*/ 0 w 5789091"/>
              <a:gd name="connsiteY3" fmla="*/ 6142896 h 6142896"/>
              <a:gd name="connsiteX4" fmla="*/ 3417915 w 5789091"/>
              <a:gd name="connsiteY4" fmla="*/ 0 h 6142896"/>
              <a:gd name="connsiteX0" fmla="*/ 3242655 w 5613831"/>
              <a:gd name="connsiteY0" fmla="*/ 0 h 6128669"/>
              <a:gd name="connsiteX1" fmla="*/ 5613831 w 5613831"/>
              <a:gd name="connsiteY1" fmla="*/ 0 h 6128669"/>
              <a:gd name="connsiteX2" fmla="*/ 5613831 w 5613831"/>
              <a:gd name="connsiteY2" fmla="*/ 6128669 h 6128669"/>
              <a:gd name="connsiteX3" fmla="*/ 0 w 5613831"/>
              <a:gd name="connsiteY3" fmla="*/ 6085992 h 6128669"/>
              <a:gd name="connsiteX4" fmla="*/ 3242655 w 5613831"/>
              <a:gd name="connsiteY4" fmla="*/ 0 h 6128669"/>
              <a:gd name="connsiteX0" fmla="*/ 3402675 w 5773851"/>
              <a:gd name="connsiteY0" fmla="*/ 0 h 6128670"/>
              <a:gd name="connsiteX1" fmla="*/ 5773851 w 5773851"/>
              <a:gd name="connsiteY1" fmla="*/ 0 h 6128670"/>
              <a:gd name="connsiteX2" fmla="*/ 5773851 w 5773851"/>
              <a:gd name="connsiteY2" fmla="*/ 6128669 h 6128670"/>
              <a:gd name="connsiteX3" fmla="*/ 0 w 5773851"/>
              <a:gd name="connsiteY3" fmla="*/ 6128670 h 6128670"/>
              <a:gd name="connsiteX4" fmla="*/ 3402675 w 5773851"/>
              <a:gd name="connsiteY4" fmla="*/ 0 h 6128670"/>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2686712 w 5057888"/>
              <a:gd name="connsiteY0" fmla="*/ 0 h 6128669"/>
              <a:gd name="connsiteX1" fmla="*/ 5057888 w 5057888"/>
              <a:gd name="connsiteY1" fmla="*/ 0 h 6128669"/>
              <a:gd name="connsiteX2" fmla="*/ 5057888 w 5057888"/>
              <a:gd name="connsiteY2" fmla="*/ 6128669 h 6128669"/>
              <a:gd name="connsiteX3" fmla="*/ 0 w 5057888"/>
              <a:gd name="connsiteY3" fmla="*/ 5818959 h 6128669"/>
              <a:gd name="connsiteX4" fmla="*/ 2686712 w 5057888"/>
              <a:gd name="connsiteY4" fmla="*/ 0 h 6128669"/>
              <a:gd name="connsiteX0" fmla="*/ 3448712 w 5819888"/>
              <a:gd name="connsiteY0" fmla="*/ 0 h 6139043"/>
              <a:gd name="connsiteX1" fmla="*/ 5819888 w 5819888"/>
              <a:gd name="connsiteY1" fmla="*/ 0 h 6139043"/>
              <a:gd name="connsiteX2" fmla="*/ 5819888 w 5819888"/>
              <a:gd name="connsiteY2" fmla="*/ 6128669 h 6139043"/>
              <a:gd name="connsiteX3" fmla="*/ 0 w 5819888"/>
              <a:gd name="connsiteY3" fmla="*/ 6139043 h 6139043"/>
              <a:gd name="connsiteX4" fmla="*/ 3448712 w 5819888"/>
              <a:gd name="connsiteY4" fmla="*/ 0 h 6139043"/>
              <a:gd name="connsiteX0" fmla="*/ 2870185 w 5819888"/>
              <a:gd name="connsiteY0" fmla="*/ 0 h 6152671"/>
              <a:gd name="connsiteX1" fmla="*/ 5819888 w 5819888"/>
              <a:gd name="connsiteY1" fmla="*/ 13628 h 6152671"/>
              <a:gd name="connsiteX2" fmla="*/ 5819888 w 5819888"/>
              <a:gd name="connsiteY2" fmla="*/ 6142297 h 6152671"/>
              <a:gd name="connsiteX3" fmla="*/ 0 w 5819888"/>
              <a:gd name="connsiteY3" fmla="*/ 6152671 h 6152671"/>
              <a:gd name="connsiteX4" fmla="*/ 2870185 w 5819888"/>
              <a:gd name="connsiteY4" fmla="*/ 0 h 6152671"/>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70185 w 5819888"/>
              <a:gd name="connsiteY4" fmla="*/ 27252 h 6139043"/>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5" fmla="*/ 2870185 w 5819888"/>
              <a:gd name="connsiteY5" fmla="*/ 27252 h 6139043"/>
              <a:gd name="connsiteX0" fmla="*/ 2858953 w 5819888"/>
              <a:gd name="connsiteY0" fmla="*/ 9081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36334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36334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2269 h 6139043"/>
              <a:gd name="connsiteX0" fmla="*/ 2858951 w 5819888"/>
              <a:gd name="connsiteY0" fmla="*/ 2269 h 6165005"/>
              <a:gd name="connsiteX1" fmla="*/ 5819888 w 5819888"/>
              <a:gd name="connsiteY1" fmla="*/ 0 h 6165005"/>
              <a:gd name="connsiteX2" fmla="*/ 5819888 w 5819888"/>
              <a:gd name="connsiteY2" fmla="*/ 6165005 h 6165005"/>
              <a:gd name="connsiteX3" fmla="*/ 0 w 5819888"/>
              <a:gd name="connsiteY3" fmla="*/ 6139043 h 6165005"/>
              <a:gd name="connsiteX4" fmla="*/ 2858951 w 5819888"/>
              <a:gd name="connsiteY4" fmla="*/ 2269 h 6165005"/>
              <a:gd name="connsiteX0" fmla="*/ 2858951 w 5819888"/>
              <a:gd name="connsiteY0" fmla="*/ 2269 h 6139043"/>
              <a:gd name="connsiteX1" fmla="*/ 5819888 w 5819888"/>
              <a:gd name="connsiteY1" fmla="*/ 0 h 6139043"/>
              <a:gd name="connsiteX2" fmla="*/ 5819888 w 5819888"/>
              <a:gd name="connsiteY2" fmla="*/ 6137752 h 6139043"/>
              <a:gd name="connsiteX3" fmla="*/ 0 w 5819888"/>
              <a:gd name="connsiteY3" fmla="*/ 6139043 h 6139043"/>
              <a:gd name="connsiteX4" fmla="*/ 2858951 w 5819888"/>
              <a:gd name="connsiteY4" fmla="*/ 2269 h 6139043"/>
              <a:gd name="connsiteX0" fmla="*/ 2858951 w 5819888"/>
              <a:gd name="connsiteY0" fmla="*/ 2269 h 6139043"/>
              <a:gd name="connsiteX1" fmla="*/ 5210746 w 5819888"/>
              <a:gd name="connsiteY1" fmla="*/ 5235 h 6139043"/>
              <a:gd name="connsiteX2" fmla="*/ 5819888 w 5819888"/>
              <a:gd name="connsiteY2" fmla="*/ 0 h 6139043"/>
              <a:gd name="connsiteX3" fmla="*/ 5819888 w 5819888"/>
              <a:gd name="connsiteY3" fmla="*/ 6137752 h 6139043"/>
              <a:gd name="connsiteX4" fmla="*/ 0 w 5819888"/>
              <a:gd name="connsiteY4" fmla="*/ 6139043 h 6139043"/>
              <a:gd name="connsiteX5" fmla="*/ 2858951 w 5819888"/>
              <a:gd name="connsiteY5" fmla="*/ 2269 h 6139043"/>
              <a:gd name="connsiteX0" fmla="*/ 2858951 w 5819888"/>
              <a:gd name="connsiteY0" fmla="*/ 2269 h 6147445"/>
              <a:gd name="connsiteX1" fmla="*/ 5210746 w 5819888"/>
              <a:gd name="connsiteY1" fmla="*/ 5235 h 6147445"/>
              <a:gd name="connsiteX2" fmla="*/ 5819888 w 5819888"/>
              <a:gd name="connsiteY2" fmla="*/ 0 h 6147445"/>
              <a:gd name="connsiteX3" fmla="*/ 5819888 w 5819888"/>
              <a:gd name="connsiteY3" fmla="*/ 6137752 h 6147445"/>
              <a:gd name="connsiteX4" fmla="*/ 5243673 w 5819888"/>
              <a:gd name="connsiteY4" fmla="*/ 6147445 h 6147445"/>
              <a:gd name="connsiteX5" fmla="*/ 0 w 5819888"/>
              <a:gd name="connsiteY5" fmla="*/ 6139043 h 6147445"/>
              <a:gd name="connsiteX6" fmla="*/ 2858951 w 5819888"/>
              <a:gd name="connsiteY6" fmla="*/ 2269 h 6147445"/>
              <a:gd name="connsiteX0" fmla="*/ 2858951 w 5819888"/>
              <a:gd name="connsiteY0" fmla="*/ 2269 h 6147445"/>
              <a:gd name="connsiteX1" fmla="*/ 5210746 w 5819888"/>
              <a:gd name="connsiteY1" fmla="*/ 5235 h 6147445"/>
              <a:gd name="connsiteX2" fmla="*/ 5819888 w 5819888"/>
              <a:gd name="connsiteY2" fmla="*/ 0 h 6147445"/>
              <a:gd name="connsiteX3" fmla="*/ 5243673 w 5819888"/>
              <a:gd name="connsiteY3" fmla="*/ 6147445 h 6147445"/>
              <a:gd name="connsiteX4" fmla="*/ 0 w 5819888"/>
              <a:gd name="connsiteY4" fmla="*/ 6139043 h 6147445"/>
              <a:gd name="connsiteX5" fmla="*/ 2858951 w 5819888"/>
              <a:gd name="connsiteY5" fmla="*/ 2269 h 6147445"/>
              <a:gd name="connsiteX0" fmla="*/ 2858951 w 5243673"/>
              <a:gd name="connsiteY0" fmla="*/ 0 h 6145176"/>
              <a:gd name="connsiteX1" fmla="*/ 5210746 w 5243673"/>
              <a:gd name="connsiteY1" fmla="*/ 2966 h 6145176"/>
              <a:gd name="connsiteX2" fmla="*/ 5243673 w 5243673"/>
              <a:gd name="connsiteY2" fmla="*/ 6145176 h 6145176"/>
              <a:gd name="connsiteX3" fmla="*/ 0 w 5243673"/>
              <a:gd name="connsiteY3" fmla="*/ 6136774 h 6145176"/>
              <a:gd name="connsiteX4" fmla="*/ 2858951 w 5243673"/>
              <a:gd name="connsiteY4" fmla="*/ 0 h 6145176"/>
              <a:gd name="connsiteX0" fmla="*/ 2858951 w 5249618"/>
              <a:gd name="connsiteY0" fmla="*/ 0 h 6145176"/>
              <a:gd name="connsiteX1" fmla="*/ 5249618 w 5249618"/>
              <a:gd name="connsiteY1" fmla="*/ 11756 h 6145176"/>
              <a:gd name="connsiteX2" fmla="*/ 5243673 w 5249618"/>
              <a:gd name="connsiteY2" fmla="*/ 6145176 h 6145176"/>
              <a:gd name="connsiteX3" fmla="*/ 0 w 5249618"/>
              <a:gd name="connsiteY3" fmla="*/ 6136774 h 6145176"/>
              <a:gd name="connsiteX4" fmla="*/ 2858951 w 5249618"/>
              <a:gd name="connsiteY4" fmla="*/ 0 h 6145176"/>
              <a:gd name="connsiteX0" fmla="*/ 2858951 w 5249618"/>
              <a:gd name="connsiteY0" fmla="*/ 0 h 6145176"/>
              <a:gd name="connsiteX1" fmla="*/ 4154233 w 5249618"/>
              <a:gd name="connsiteY1" fmla="*/ 1488 h 6145176"/>
              <a:gd name="connsiteX2" fmla="*/ 5249618 w 5249618"/>
              <a:gd name="connsiteY2" fmla="*/ 11756 h 6145176"/>
              <a:gd name="connsiteX3" fmla="*/ 5243673 w 5249618"/>
              <a:gd name="connsiteY3" fmla="*/ 6145176 h 6145176"/>
              <a:gd name="connsiteX4" fmla="*/ 0 w 5249618"/>
              <a:gd name="connsiteY4" fmla="*/ 6136774 h 6145176"/>
              <a:gd name="connsiteX5" fmla="*/ 2858951 w 5249618"/>
              <a:gd name="connsiteY5" fmla="*/ 0 h 6145176"/>
              <a:gd name="connsiteX0" fmla="*/ 2858951 w 5249618"/>
              <a:gd name="connsiteY0" fmla="*/ 0 h 6149016"/>
              <a:gd name="connsiteX1" fmla="*/ 4154233 w 5249618"/>
              <a:gd name="connsiteY1" fmla="*/ 1488 h 6149016"/>
              <a:gd name="connsiteX2" fmla="*/ 5249618 w 5249618"/>
              <a:gd name="connsiteY2" fmla="*/ 11756 h 6149016"/>
              <a:gd name="connsiteX3" fmla="*/ 5243673 w 5249618"/>
              <a:gd name="connsiteY3" fmla="*/ 6145176 h 6149016"/>
              <a:gd name="connsiteX4" fmla="*/ 4136463 w 5249618"/>
              <a:gd name="connsiteY4" fmla="*/ 6149016 h 6149016"/>
              <a:gd name="connsiteX5" fmla="*/ 0 w 5249618"/>
              <a:gd name="connsiteY5" fmla="*/ 6136774 h 6149016"/>
              <a:gd name="connsiteX6" fmla="*/ 2858951 w 5249618"/>
              <a:gd name="connsiteY6" fmla="*/ 0 h 6149016"/>
              <a:gd name="connsiteX0" fmla="*/ 2858951 w 5243673"/>
              <a:gd name="connsiteY0" fmla="*/ 0 h 6149016"/>
              <a:gd name="connsiteX1" fmla="*/ 4154233 w 5243673"/>
              <a:gd name="connsiteY1" fmla="*/ 1488 h 6149016"/>
              <a:gd name="connsiteX2" fmla="*/ 5243673 w 5243673"/>
              <a:gd name="connsiteY2" fmla="*/ 6145176 h 6149016"/>
              <a:gd name="connsiteX3" fmla="*/ 4136463 w 5243673"/>
              <a:gd name="connsiteY3" fmla="*/ 6149016 h 6149016"/>
              <a:gd name="connsiteX4" fmla="*/ 0 w 5243673"/>
              <a:gd name="connsiteY4" fmla="*/ 6136774 h 6149016"/>
              <a:gd name="connsiteX5" fmla="*/ 2858951 w 5243673"/>
              <a:gd name="connsiteY5" fmla="*/ 0 h 6149016"/>
              <a:gd name="connsiteX0" fmla="*/ 2858951 w 4154233"/>
              <a:gd name="connsiteY0" fmla="*/ 0 h 6149016"/>
              <a:gd name="connsiteX1" fmla="*/ 4154233 w 4154233"/>
              <a:gd name="connsiteY1" fmla="*/ 1488 h 6149016"/>
              <a:gd name="connsiteX2" fmla="*/ 4136463 w 4154233"/>
              <a:gd name="connsiteY2" fmla="*/ 6149016 h 6149016"/>
              <a:gd name="connsiteX3" fmla="*/ 0 w 4154233"/>
              <a:gd name="connsiteY3" fmla="*/ 6136774 h 6149016"/>
              <a:gd name="connsiteX4" fmla="*/ 2858951 w 4154233"/>
              <a:gd name="connsiteY4" fmla="*/ 0 h 6149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4233" h="6149016">
                <a:moveTo>
                  <a:pt x="2858951" y="0"/>
                </a:moveTo>
                <a:lnTo>
                  <a:pt x="4154233" y="1488"/>
                </a:lnTo>
                <a:cubicBezTo>
                  <a:pt x="4148310" y="2050664"/>
                  <a:pt x="4142386" y="4099840"/>
                  <a:pt x="4136463" y="6149016"/>
                </a:cubicBezTo>
                <a:lnTo>
                  <a:pt x="0" y="6136774"/>
                </a:lnTo>
                <a:lnTo>
                  <a:pt x="2858951" y="0"/>
                </a:lnTo>
                <a:close/>
              </a:path>
            </a:pathLst>
          </a:custGeom>
          <a:solidFill>
            <a:schemeClr val="bg1">
              <a:lumMod val="95000"/>
            </a:schemeClr>
          </a:solidFill>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8" name="Picture Placeholder 18"/>
          <p:cNvSpPr>
            <a:spLocks noGrp="1"/>
          </p:cNvSpPr>
          <p:nvPr>
            <p:ph type="pic" sz="quarter" idx="13"/>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9" name="Text Placeholder 9"/>
          <p:cNvSpPr>
            <a:spLocks noGrp="1"/>
          </p:cNvSpPr>
          <p:nvPr>
            <p:ph type="body" sz="quarter" idx="14"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80807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xt Boxes and Icon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8968708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14" name="Text Placeholder 4"/>
          <p:cNvSpPr>
            <a:spLocks noGrp="1"/>
          </p:cNvSpPr>
          <p:nvPr>
            <p:ph type="body" sz="quarter" idx="11"/>
            <p:custDataLst>
              <p:tags r:id="rId2"/>
            </p:custDataLst>
          </p:nvPr>
        </p:nvSpPr>
        <p:spPr>
          <a:xfrm>
            <a:off x="68782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3"/>
          <p:cNvSpPr>
            <a:spLocks noGrp="1"/>
          </p:cNvSpPr>
          <p:nvPr>
            <p:ph type="pic" sz="quarter" idx="17" hasCustomPrompt="1"/>
            <p:custDataLst>
              <p:tags r:id="rId3"/>
            </p:custDataLst>
          </p:nvPr>
        </p:nvSpPr>
        <p:spPr>
          <a:xfrm>
            <a:off x="716803" y="1817688"/>
            <a:ext cx="734400" cy="734400"/>
          </a:xfrm>
          <a:prstGeom prst="ellipse">
            <a:avLst/>
          </a:prstGeom>
        </p:spPr>
        <p:txBody>
          <a:bodyPr anchor="ctr" anchorCtr="1">
            <a:noAutofit/>
          </a:bodyPr>
          <a:lstStyle>
            <a:lvl1pPr>
              <a:defRPr/>
            </a:lvl1pPr>
          </a:lstStyle>
          <a:p>
            <a:r>
              <a:rPr lang="en-NZ" dirty="0"/>
              <a:t>ICON</a:t>
            </a:r>
          </a:p>
        </p:txBody>
      </p:sp>
      <p:sp>
        <p:nvSpPr>
          <p:cNvPr id="16" name="Text Placeholder 4"/>
          <p:cNvSpPr>
            <a:spLocks noGrp="1"/>
          </p:cNvSpPr>
          <p:nvPr>
            <p:ph type="body" sz="quarter" idx="25"/>
            <p:custDataLst>
              <p:tags r:id="rId4"/>
            </p:custDataLst>
          </p:nvPr>
        </p:nvSpPr>
        <p:spPr>
          <a:xfrm>
            <a:off x="388345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icture Placeholder 3"/>
          <p:cNvSpPr>
            <a:spLocks noGrp="1"/>
          </p:cNvSpPr>
          <p:nvPr>
            <p:ph type="pic" sz="quarter" idx="26" hasCustomPrompt="1"/>
            <p:custDataLst>
              <p:tags r:id="rId5"/>
            </p:custDataLst>
          </p:nvPr>
        </p:nvSpPr>
        <p:spPr>
          <a:xfrm>
            <a:off x="3883450" y="1817688"/>
            <a:ext cx="734400" cy="734400"/>
          </a:xfrm>
          <a:prstGeom prst="ellipse">
            <a:avLst/>
          </a:prstGeom>
        </p:spPr>
        <p:txBody>
          <a:bodyPr anchor="ctr" anchorCtr="1">
            <a:noAutofit/>
          </a:bodyPr>
          <a:lstStyle>
            <a:lvl1pPr>
              <a:defRPr/>
            </a:lvl1pPr>
          </a:lstStyle>
          <a:p>
            <a:r>
              <a:rPr lang="en-NZ" dirty="0"/>
              <a:t>ICON</a:t>
            </a:r>
          </a:p>
        </p:txBody>
      </p:sp>
      <p:sp>
        <p:nvSpPr>
          <p:cNvPr id="20" name="Text Placeholder 4"/>
          <p:cNvSpPr>
            <a:spLocks noGrp="1"/>
          </p:cNvSpPr>
          <p:nvPr>
            <p:ph type="body" sz="quarter" idx="27"/>
            <p:custDataLst>
              <p:tags r:id="rId6"/>
            </p:custDataLst>
          </p:nvPr>
        </p:nvSpPr>
        <p:spPr>
          <a:xfrm>
            <a:off x="68782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Picture Placeholder 3"/>
          <p:cNvSpPr>
            <a:spLocks noGrp="1"/>
          </p:cNvSpPr>
          <p:nvPr>
            <p:ph type="pic" sz="quarter" idx="28" hasCustomPrompt="1"/>
            <p:custDataLst>
              <p:tags r:id="rId7"/>
            </p:custDataLst>
          </p:nvPr>
        </p:nvSpPr>
        <p:spPr>
          <a:xfrm>
            <a:off x="716803" y="5799140"/>
            <a:ext cx="734400" cy="734400"/>
          </a:xfrm>
          <a:prstGeom prst="ellipse">
            <a:avLst/>
          </a:prstGeom>
        </p:spPr>
        <p:txBody>
          <a:bodyPr anchor="ctr" anchorCtr="1">
            <a:noAutofit/>
          </a:bodyPr>
          <a:lstStyle>
            <a:lvl1pPr>
              <a:defRPr/>
            </a:lvl1pPr>
          </a:lstStyle>
          <a:p>
            <a:r>
              <a:rPr lang="en-NZ" dirty="0"/>
              <a:t>ICON</a:t>
            </a:r>
          </a:p>
        </p:txBody>
      </p:sp>
      <p:sp>
        <p:nvSpPr>
          <p:cNvPr id="22" name="Text Placeholder 4"/>
          <p:cNvSpPr>
            <a:spLocks noGrp="1"/>
          </p:cNvSpPr>
          <p:nvPr>
            <p:ph type="body" sz="quarter" idx="29"/>
            <p:custDataLst>
              <p:tags r:id="rId8"/>
            </p:custDataLst>
          </p:nvPr>
        </p:nvSpPr>
        <p:spPr>
          <a:xfrm>
            <a:off x="388345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Picture Placeholder 3"/>
          <p:cNvSpPr>
            <a:spLocks noGrp="1"/>
          </p:cNvSpPr>
          <p:nvPr>
            <p:ph type="pic" sz="quarter" idx="30" hasCustomPrompt="1"/>
            <p:custDataLst>
              <p:tags r:id="rId9"/>
            </p:custDataLst>
          </p:nvPr>
        </p:nvSpPr>
        <p:spPr>
          <a:xfrm>
            <a:off x="3883450" y="5799140"/>
            <a:ext cx="734400" cy="734400"/>
          </a:xfrm>
          <a:prstGeom prst="ellipse">
            <a:avLst/>
          </a:prstGeom>
        </p:spPr>
        <p:txBody>
          <a:bodyPr anchor="ctr" anchorCtr="1">
            <a:noAutofit/>
          </a:bodyPr>
          <a:lstStyle>
            <a:lvl1pPr>
              <a:defRPr/>
            </a:lvl1pPr>
          </a:lstStyle>
          <a:p>
            <a:r>
              <a:rPr lang="en-NZ" dirty="0"/>
              <a:t>ICON</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46859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Four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550007802"/>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6" name="Picture Placeholder 8"/>
          <p:cNvSpPr>
            <a:spLocks noGrp="1"/>
          </p:cNvSpPr>
          <p:nvPr>
            <p:ph type="pic" sz="quarter" idx="22"/>
            <p:custDataLst>
              <p:tags r:id="rId2"/>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Picture Placeholder 8"/>
          <p:cNvSpPr>
            <a:spLocks noGrp="1"/>
          </p:cNvSpPr>
          <p:nvPr>
            <p:ph type="pic" sz="quarter" idx="23"/>
            <p:custDataLst>
              <p:tags r:id="rId3"/>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0" name="Picture Placeholder 8"/>
          <p:cNvSpPr>
            <a:spLocks noGrp="1"/>
          </p:cNvSpPr>
          <p:nvPr>
            <p:ph type="pic" sz="quarter" idx="30"/>
            <p:custDataLst>
              <p:tags r:id="rId4"/>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Picture Placeholder 8"/>
          <p:cNvSpPr>
            <a:spLocks noGrp="1"/>
          </p:cNvSpPr>
          <p:nvPr>
            <p:ph type="pic" sz="quarter" idx="25"/>
            <p:custDataLst>
              <p:tags r:id="rId5"/>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4" name="Text Placeholder 4"/>
          <p:cNvSpPr>
            <a:spLocks noGrp="1"/>
          </p:cNvSpPr>
          <p:nvPr>
            <p:ph type="body" sz="quarter" idx="11" hasCustomPrompt="1"/>
            <p:custDataLst>
              <p:tags r:id="rId6"/>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5" name="Text Placeholder 4"/>
          <p:cNvSpPr>
            <a:spLocks noGrp="1"/>
          </p:cNvSpPr>
          <p:nvPr>
            <p:ph type="body" sz="quarter" idx="26" hasCustomPrompt="1"/>
            <p:custDataLst>
              <p:tags r:id="rId7"/>
            </p:custDataLst>
          </p:nvPr>
        </p:nvSpPr>
        <p:spPr>
          <a:xfrm>
            <a:off x="2306958"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6" name="Text Placeholder 4"/>
          <p:cNvSpPr>
            <a:spLocks noGrp="1"/>
          </p:cNvSpPr>
          <p:nvPr>
            <p:ph type="body" sz="quarter" idx="27" hasCustomPrompt="1"/>
            <p:custDataLst>
              <p:tags r:id="rId8"/>
            </p:custDataLst>
          </p:nvPr>
        </p:nvSpPr>
        <p:spPr>
          <a:xfrm>
            <a:off x="3926096"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7" name="Text Placeholder 4"/>
          <p:cNvSpPr>
            <a:spLocks noGrp="1"/>
          </p:cNvSpPr>
          <p:nvPr>
            <p:ph type="body" sz="quarter" idx="28" hasCustomPrompt="1"/>
            <p:custDataLst>
              <p:tags r:id="rId9"/>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4"/>
          <p:cNvSpPr>
            <a:spLocks noGrp="1"/>
          </p:cNvSpPr>
          <p:nvPr>
            <p:ph type="body" sz="quarter" idx="29"/>
            <p:custDataLst>
              <p:tags r:id="rId10"/>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1" name="Text Placeholder 4"/>
          <p:cNvSpPr>
            <a:spLocks noGrp="1"/>
          </p:cNvSpPr>
          <p:nvPr>
            <p:ph type="body" sz="quarter" idx="12"/>
            <p:custDataLst>
              <p:tags r:id="rId11"/>
            </p:custDataLst>
          </p:nvPr>
        </p:nvSpPr>
        <p:spPr>
          <a:xfrm>
            <a:off x="2306958"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2" name="Text Placeholder 4"/>
          <p:cNvSpPr>
            <a:spLocks noGrp="1"/>
          </p:cNvSpPr>
          <p:nvPr>
            <p:ph type="body" sz="quarter" idx="13"/>
            <p:custDataLst>
              <p:tags r:id="rId12"/>
            </p:custDataLst>
          </p:nvPr>
        </p:nvSpPr>
        <p:spPr>
          <a:xfrm>
            <a:off x="3926096"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3" name="Text Placeholder 4"/>
          <p:cNvSpPr>
            <a:spLocks noGrp="1"/>
          </p:cNvSpPr>
          <p:nvPr>
            <p:ph type="body" sz="quarter" idx="14"/>
            <p:custDataLst>
              <p:tags r:id="rId13"/>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31"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0359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Eight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06873844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13" name="Object 12" hidden="1"/>
                      <p:cNvPicPr/>
                      <p:nvPr/>
                    </p:nvPicPr>
                    <p:blipFill>
                      <a:blip r:embed="rId29"/>
                      <a:stretch>
                        <a:fillRect/>
                      </a:stretch>
                    </p:blipFill>
                    <p:spPr>
                      <a:xfrm>
                        <a:off x="0" y="0"/>
                        <a:ext cx="112252" cy="224510"/>
                      </a:xfrm>
                      <a:prstGeom prst="rect">
                        <a:avLst/>
                      </a:prstGeom>
                    </p:spPr>
                  </p:pic>
                </p:oleObj>
              </mc:Fallback>
            </mc:AlternateContent>
          </a:graphicData>
        </a:graphic>
      </p:graphicFrame>
      <p:sp>
        <p:nvSpPr>
          <p:cNvPr id="19" name="Picture Placeholder 8"/>
          <p:cNvSpPr>
            <a:spLocks noGrp="1"/>
          </p:cNvSpPr>
          <p:nvPr>
            <p:ph type="pic" sz="quarter" idx="31"/>
            <p:custDataLst>
              <p:tags r:id="rId2"/>
            </p:custDataLst>
          </p:nvPr>
        </p:nvSpPr>
        <p:spPr>
          <a:xfrm>
            <a:off x="688145"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4" name="Picture Placeholder 8"/>
          <p:cNvSpPr>
            <a:spLocks noGrp="1"/>
          </p:cNvSpPr>
          <p:nvPr>
            <p:ph type="pic" sz="quarter" idx="32"/>
            <p:custDataLst>
              <p:tags r:id="rId3"/>
            </p:custDataLst>
          </p:nvPr>
        </p:nvSpPr>
        <p:spPr>
          <a:xfrm>
            <a:off x="2307174"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33"/>
            <p:custDataLst>
              <p:tags r:id="rId4"/>
            </p:custDataLst>
          </p:nvPr>
        </p:nvSpPr>
        <p:spPr>
          <a:xfrm>
            <a:off x="392620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8" name="Picture Placeholder 8"/>
          <p:cNvSpPr>
            <a:spLocks noGrp="1"/>
          </p:cNvSpPr>
          <p:nvPr>
            <p:ph type="pic" sz="quarter" idx="34"/>
            <p:custDataLst>
              <p:tags r:id="rId5"/>
            </p:custDataLst>
          </p:nvPr>
        </p:nvSpPr>
        <p:spPr>
          <a:xfrm>
            <a:off x="554523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4"/>
          <p:cNvSpPr>
            <a:spLocks noGrp="1"/>
          </p:cNvSpPr>
          <p:nvPr>
            <p:ph type="body" sz="quarter" idx="35" hasCustomPrompt="1"/>
            <p:custDataLst>
              <p:tags r:id="rId6"/>
            </p:custDataLst>
          </p:nvPr>
        </p:nvSpPr>
        <p:spPr>
          <a:xfrm>
            <a:off x="687820" y="6908129"/>
            <a:ext cx="1368000" cy="504000"/>
          </a:xfrm>
          <a:prstGeom prst="rect">
            <a:avLst/>
          </a:prstGeom>
          <a:solidFill>
            <a:schemeClr val="accent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2" name="Text Placeholder 4"/>
          <p:cNvSpPr>
            <a:spLocks noGrp="1"/>
          </p:cNvSpPr>
          <p:nvPr>
            <p:ph type="body" sz="quarter" idx="36" hasCustomPrompt="1"/>
            <p:custDataLst>
              <p:tags r:id="rId7"/>
            </p:custDataLst>
          </p:nvPr>
        </p:nvSpPr>
        <p:spPr>
          <a:xfrm>
            <a:off x="2307174" y="6908129"/>
            <a:ext cx="1368000" cy="504000"/>
          </a:xfrm>
          <a:prstGeom prst="rect">
            <a:avLst/>
          </a:prstGeom>
          <a:solidFill>
            <a:schemeClr val="bg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3" name="Text Placeholder 4"/>
          <p:cNvSpPr>
            <a:spLocks noGrp="1"/>
          </p:cNvSpPr>
          <p:nvPr>
            <p:ph type="body" sz="quarter" idx="37" hasCustomPrompt="1"/>
            <p:custDataLst>
              <p:tags r:id="rId8"/>
            </p:custDataLst>
          </p:nvPr>
        </p:nvSpPr>
        <p:spPr>
          <a:xfrm>
            <a:off x="3926203" y="6908129"/>
            <a:ext cx="1368000" cy="504000"/>
          </a:xfrm>
          <a:prstGeom prst="rect">
            <a:avLst/>
          </a:prstGeom>
          <a:solidFill>
            <a:schemeClr val="tx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4" name="Text Placeholder 4"/>
          <p:cNvSpPr>
            <a:spLocks noGrp="1"/>
          </p:cNvSpPr>
          <p:nvPr>
            <p:ph type="body" sz="quarter" idx="38" hasCustomPrompt="1"/>
            <p:custDataLst>
              <p:tags r:id="rId9"/>
            </p:custDataLst>
          </p:nvPr>
        </p:nvSpPr>
        <p:spPr>
          <a:xfrm>
            <a:off x="5545233" y="6908129"/>
            <a:ext cx="1368000" cy="504000"/>
          </a:xfrm>
          <a:prstGeom prst="rect">
            <a:avLst/>
          </a:prstGeom>
          <a:solidFill>
            <a:schemeClr val="accent3"/>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5" name="Text Placeholder 4"/>
          <p:cNvSpPr>
            <a:spLocks noGrp="1"/>
          </p:cNvSpPr>
          <p:nvPr>
            <p:ph type="body" sz="quarter" idx="39"/>
            <p:custDataLst>
              <p:tags r:id="rId10"/>
            </p:custDataLst>
          </p:nvPr>
        </p:nvSpPr>
        <p:spPr>
          <a:xfrm>
            <a:off x="687820" y="7514221"/>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6" name="Text Placeholder 4"/>
          <p:cNvSpPr>
            <a:spLocks noGrp="1"/>
          </p:cNvSpPr>
          <p:nvPr>
            <p:ph type="body" sz="quarter" idx="40"/>
            <p:custDataLst>
              <p:tags r:id="rId11"/>
            </p:custDataLst>
          </p:nvPr>
        </p:nvSpPr>
        <p:spPr>
          <a:xfrm>
            <a:off x="2307174"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7" name="Text Placeholder 4"/>
          <p:cNvSpPr>
            <a:spLocks noGrp="1"/>
          </p:cNvSpPr>
          <p:nvPr>
            <p:ph type="body" sz="quarter" idx="41"/>
            <p:custDataLst>
              <p:tags r:id="rId12"/>
            </p:custDataLst>
          </p:nvPr>
        </p:nvSpPr>
        <p:spPr>
          <a:xfrm>
            <a:off x="392620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8" name="Text Placeholder 4"/>
          <p:cNvSpPr>
            <a:spLocks noGrp="1"/>
          </p:cNvSpPr>
          <p:nvPr>
            <p:ph type="body" sz="quarter" idx="42"/>
            <p:custDataLst>
              <p:tags r:id="rId13"/>
            </p:custDataLst>
          </p:nvPr>
        </p:nvSpPr>
        <p:spPr>
          <a:xfrm>
            <a:off x="554523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0" name="Text Placeholder 9"/>
          <p:cNvSpPr>
            <a:spLocks noGrp="1"/>
          </p:cNvSpPr>
          <p:nvPr>
            <p:ph type="body" sz="quarter" idx="43"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39" name="Picture Placeholder 8"/>
          <p:cNvSpPr>
            <a:spLocks noGrp="1"/>
          </p:cNvSpPr>
          <p:nvPr>
            <p:ph type="pic" sz="quarter" idx="22"/>
            <p:custDataLst>
              <p:tags r:id="rId15"/>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Picture Placeholder 8"/>
          <p:cNvSpPr>
            <a:spLocks noGrp="1"/>
          </p:cNvSpPr>
          <p:nvPr>
            <p:ph type="pic" sz="quarter" idx="23"/>
            <p:custDataLst>
              <p:tags r:id="rId16"/>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2" name="Picture Placeholder 8"/>
          <p:cNvSpPr>
            <a:spLocks noGrp="1"/>
          </p:cNvSpPr>
          <p:nvPr>
            <p:ph type="pic" sz="quarter" idx="30"/>
            <p:custDataLst>
              <p:tags r:id="rId17"/>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Picture Placeholder 8"/>
          <p:cNvSpPr>
            <a:spLocks noGrp="1"/>
          </p:cNvSpPr>
          <p:nvPr>
            <p:ph type="pic" sz="quarter" idx="25"/>
            <p:custDataLst>
              <p:tags r:id="rId18"/>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4" name="Text Placeholder 4"/>
          <p:cNvSpPr>
            <a:spLocks noGrp="1"/>
          </p:cNvSpPr>
          <p:nvPr>
            <p:ph type="body" sz="quarter" idx="11" hasCustomPrompt="1"/>
            <p:custDataLst>
              <p:tags r:id="rId19"/>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5" name="Text Placeholder 4"/>
          <p:cNvSpPr>
            <a:spLocks noGrp="1"/>
          </p:cNvSpPr>
          <p:nvPr>
            <p:ph type="body" sz="quarter" idx="26" hasCustomPrompt="1"/>
            <p:custDataLst>
              <p:tags r:id="rId20"/>
            </p:custDataLst>
          </p:nvPr>
        </p:nvSpPr>
        <p:spPr>
          <a:xfrm>
            <a:off x="2307174"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6" name="Text Placeholder 4"/>
          <p:cNvSpPr>
            <a:spLocks noGrp="1"/>
          </p:cNvSpPr>
          <p:nvPr>
            <p:ph type="body" sz="quarter" idx="27" hasCustomPrompt="1"/>
            <p:custDataLst>
              <p:tags r:id="rId21"/>
            </p:custDataLst>
          </p:nvPr>
        </p:nvSpPr>
        <p:spPr>
          <a:xfrm>
            <a:off x="3926203"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7" name="Text Placeholder 4"/>
          <p:cNvSpPr>
            <a:spLocks noGrp="1"/>
          </p:cNvSpPr>
          <p:nvPr>
            <p:ph type="body" sz="quarter" idx="28" hasCustomPrompt="1"/>
            <p:custDataLst>
              <p:tags r:id="rId22"/>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8" name="Text Placeholder 4"/>
          <p:cNvSpPr>
            <a:spLocks noGrp="1"/>
          </p:cNvSpPr>
          <p:nvPr>
            <p:ph type="body" sz="quarter" idx="29"/>
            <p:custDataLst>
              <p:tags r:id="rId23"/>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9" name="Text Placeholder 4"/>
          <p:cNvSpPr>
            <a:spLocks noGrp="1"/>
          </p:cNvSpPr>
          <p:nvPr>
            <p:ph type="body" sz="quarter" idx="12"/>
            <p:custDataLst>
              <p:tags r:id="rId24"/>
            </p:custDataLst>
          </p:nvPr>
        </p:nvSpPr>
        <p:spPr>
          <a:xfrm>
            <a:off x="2307174"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0" name="Text Placeholder 4"/>
          <p:cNvSpPr>
            <a:spLocks noGrp="1"/>
          </p:cNvSpPr>
          <p:nvPr>
            <p:ph type="body" sz="quarter" idx="13"/>
            <p:custDataLst>
              <p:tags r:id="rId25"/>
            </p:custDataLst>
          </p:nvPr>
        </p:nvSpPr>
        <p:spPr>
          <a:xfrm>
            <a:off x="392620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1" name="Text Placeholder 4"/>
          <p:cNvSpPr>
            <a:spLocks noGrp="1"/>
          </p:cNvSpPr>
          <p:nvPr>
            <p:ph type="body" sz="quarter" idx="14"/>
            <p:custDataLst>
              <p:tags r:id="rId26"/>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7937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ies Singl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85810180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noChangeAspect="1"/>
          </p:cNvSpPr>
          <p:nvPr>
            <p:ph type="pic" sz="quarter" idx="12"/>
          </p:nvPr>
        </p:nvSpPr>
        <p:spPr>
          <a:xfrm>
            <a:off x="684000" y="1817688"/>
            <a:ext cx="1926000" cy="1926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684000" y="3924074"/>
            <a:ext cx="6191463" cy="533479"/>
          </a:xfrm>
          <a:prstGeom prst="rect">
            <a:avLst/>
          </a:prstGeom>
        </p:spPr>
        <p:txBody>
          <a:bodyPr/>
          <a:lstStyle>
            <a:lvl1pPr>
              <a:lnSpc>
                <a:spcPct val="100000"/>
              </a:lnSpc>
              <a:spcAft>
                <a:spcPts val="400"/>
              </a:spcAft>
              <a:defRPr sz="1000" b="1"/>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5" name="Text Placeholder 6"/>
          <p:cNvSpPr>
            <a:spLocks noGrp="1"/>
          </p:cNvSpPr>
          <p:nvPr>
            <p:ph type="body" sz="quarter" idx="28"/>
            <p:custDataLst>
              <p:tags r:id="rId2"/>
            </p:custDataLst>
          </p:nvPr>
        </p:nvSpPr>
        <p:spPr>
          <a:xfrm>
            <a:off x="684000"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16" name="Text Placeholder 4"/>
          <p:cNvSpPr>
            <a:spLocks noGrp="1"/>
          </p:cNvSpPr>
          <p:nvPr>
            <p:ph type="body" sz="quarter" idx="29" hasCustomPrompt="1"/>
            <p:custDataLst>
              <p:tags r:id="rId3"/>
            </p:custDataLst>
          </p:nvPr>
        </p:nvSpPr>
        <p:spPr>
          <a:xfrm>
            <a:off x="684000"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6"/>
          <p:cNvSpPr>
            <a:spLocks noGrp="1"/>
          </p:cNvSpPr>
          <p:nvPr>
            <p:ph type="body" sz="quarter" idx="31"/>
            <p:custDataLst>
              <p:tags r:id="rId4"/>
            </p:custDataLst>
          </p:nvPr>
        </p:nvSpPr>
        <p:spPr>
          <a:xfrm>
            <a:off x="2291821"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1" name="Text Placeholder 4"/>
          <p:cNvSpPr>
            <a:spLocks noGrp="1"/>
          </p:cNvSpPr>
          <p:nvPr>
            <p:ph type="body" sz="quarter" idx="32" hasCustomPrompt="1"/>
            <p:custDataLst>
              <p:tags r:id="rId5"/>
            </p:custDataLst>
          </p:nvPr>
        </p:nvSpPr>
        <p:spPr>
          <a:xfrm>
            <a:off x="2291821"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2" name="Text Placeholder 6"/>
          <p:cNvSpPr>
            <a:spLocks noGrp="1"/>
          </p:cNvSpPr>
          <p:nvPr>
            <p:ph type="body" sz="quarter" idx="33"/>
            <p:custDataLst>
              <p:tags r:id="rId6"/>
            </p:custDataLst>
          </p:nvPr>
        </p:nvSpPr>
        <p:spPr>
          <a:xfrm>
            <a:off x="3899642"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3" name="Text Placeholder 4"/>
          <p:cNvSpPr>
            <a:spLocks noGrp="1"/>
          </p:cNvSpPr>
          <p:nvPr>
            <p:ph type="body" sz="quarter" idx="34" hasCustomPrompt="1"/>
            <p:custDataLst>
              <p:tags r:id="rId7"/>
            </p:custDataLst>
          </p:nvPr>
        </p:nvSpPr>
        <p:spPr>
          <a:xfrm>
            <a:off x="3899642"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6" name="Text Placeholder 6"/>
          <p:cNvSpPr>
            <a:spLocks noGrp="1"/>
          </p:cNvSpPr>
          <p:nvPr>
            <p:ph type="body" sz="quarter" idx="35"/>
            <p:custDataLst>
              <p:tags r:id="rId8"/>
            </p:custDataLst>
          </p:nvPr>
        </p:nvSpPr>
        <p:spPr>
          <a:xfrm>
            <a:off x="5545563"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7" name="Text Placeholder 4"/>
          <p:cNvSpPr>
            <a:spLocks noGrp="1"/>
          </p:cNvSpPr>
          <p:nvPr>
            <p:ph type="body" sz="quarter" idx="36" hasCustomPrompt="1"/>
            <p:custDataLst>
              <p:tags r:id="rId9"/>
            </p:custDataLst>
          </p:nvPr>
        </p:nvSpPr>
        <p:spPr>
          <a:xfrm>
            <a:off x="5545563"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4"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274852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ies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56532066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2351314" y="1817688"/>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0631"/>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2351314" y="3810631"/>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3574"/>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2351314" y="5803574"/>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796517"/>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2351314" y="7796517"/>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6"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7137372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ies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47015481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075835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ies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226188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3" name="Object 12"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6" name="Picture Placeholder 8"/>
          <p:cNvSpPr>
            <a:spLocks noGrp="1"/>
          </p:cNvSpPr>
          <p:nvPr>
            <p:ph type="pic" sz="quarter" idx="38"/>
          </p:nvPr>
        </p:nvSpPr>
        <p:spPr>
          <a:xfrm>
            <a:off x="684000"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7" name="Text Placeholder 18"/>
          <p:cNvSpPr>
            <a:spLocks noGrp="1"/>
          </p:cNvSpPr>
          <p:nvPr>
            <p:ph type="body" sz="quarter" idx="39"/>
          </p:nvPr>
        </p:nvSpPr>
        <p:spPr>
          <a:xfrm>
            <a:off x="1889759"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8" name="Picture Placeholder 8"/>
          <p:cNvSpPr>
            <a:spLocks noGrp="1"/>
          </p:cNvSpPr>
          <p:nvPr>
            <p:ph type="pic" sz="quarter" idx="40"/>
          </p:nvPr>
        </p:nvSpPr>
        <p:spPr>
          <a:xfrm>
            <a:off x="3852695"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9" name="Text Placeholder 18"/>
          <p:cNvSpPr>
            <a:spLocks noGrp="1"/>
          </p:cNvSpPr>
          <p:nvPr>
            <p:ph type="body" sz="quarter" idx="41"/>
          </p:nvPr>
        </p:nvSpPr>
        <p:spPr>
          <a:xfrm>
            <a:off x="5085398"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0" name="Picture Placeholder 8"/>
          <p:cNvSpPr>
            <a:spLocks noGrp="1"/>
          </p:cNvSpPr>
          <p:nvPr>
            <p:ph type="pic" sz="quarter" idx="42"/>
            <p:custDataLst>
              <p:tags r:id="rId2"/>
            </p:custDataLst>
          </p:nvPr>
        </p:nvSpPr>
        <p:spPr>
          <a:xfrm>
            <a:off x="684000"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43"/>
          </p:nvPr>
        </p:nvSpPr>
        <p:spPr>
          <a:xfrm>
            <a:off x="1889759"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2" name="Picture Placeholder 8"/>
          <p:cNvSpPr>
            <a:spLocks noGrp="1"/>
          </p:cNvSpPr>
          <p:nvPr>
            <p:ph type="pic" sz="quarter" idx="44"/>
            <p:custDataLst>
              <p:tags r:id="rId3"/>
            </p:custDataLst>
          </p:nvPr>
        </p:nvSpPr>
        <p:spPr>
          <a:xfrm>
            <a:off x="3852695"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Text Placeholder 18"/>
          <p:cNvSpPr>
            <a:spLocks noGrp="1"/>
          </p:cNvSpPr>
          <p:nvPr>
            <p:ph type="body" sz="quarter" idx="45"/>
            <p:custDataLst>
              <p:tags r:id="rId4"/>
            </p:custDataLst>
          </p:nvPr>
        </p:nvSpPr>
        <p:spPr>
          <a:xfrm>
            <a:off x="5085398"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5"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848297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hree">
    <p:bg>
      <p:bgPr>
        <a:solidFill>
          <a:schemeClr val="bg1"/>
        </a:solidFill>
        <a:effectLst/>
      </p:bgPr>
    </p:bg>
    <p:spTree>
      <p:nvGrpSpPr>
        <p:cNvPr id="1" name=""/>
        <p:cNvGrpSpPr/>
        <p:nvPr/>
      </p:nvGrpSpPr>
      <p:grpSpPr>
        <a:xfrm>
          <a:off x="0" y="0"/>
          <a:ext cx="0" cy="0"/>
          <a:chOff x="0" y="0"/>
          <a:chExt cx="0" cy="0"/>
        </a:xfrm>
      </p:grpSpPr>
      <p:sp>
        <p:nvSpPr>
          <p:cNvPr id="6" name="Freeform 244"/>
          <p:cNvSpPr>
            <a:spLocks/>
          </p:cNvSpPr>
          <p:nvPr userDrawn="1"/>
        </p:nvSpPr>
        <p:spPr bwMode="auto">
          <a:xfrm>
            <a:off x="0" y="0"/>
            <a:ext cx="5657850" cy="1306286"/>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42914050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12252" cy="224510"/>
                      </a:xfrm>
                      <a:prstGeom prst="rect">
                        <a:avLst/>
                      </a:prstGeom>
                    </p:spPr>
                  </p:pic>
                </p:oleObj>
              </mc:Fallback>
            </mc:AlternateContent>
          </a:graphicData>
        </a:graphic>
      </p:graphicFrame>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537114" y="406956"/>
            <a:ext cx="1830338" cy="503585"/>
          </a:xfrm>
          <a:prstGeom prst="rect">
            <a:avLst/>
          </a:prstGeom>
        </p:spPr>
      </p:pic>
      <p:sp>
        <p:nvSpPr>
          <p:cNvPr id="4" name="TextBox 3"/>
          <p:cNvSpPr txBox="1"/>
          <p:nvPr userDrawn="1"/>
        </p:nvSpPr>
        <p:spPr>
          <a:xfrm>
            <a:off x="1162594" y="2704011"/>
            <a:ext cx="5172892" cy="2863733"/>
          </a:xfrm>
          <a:prstGeom prst="rect">
            <a:avLst/>
          </a:prstGeom>
          <a:noFill/>
          <a:ln>
            <a:noFill/>
          </a:ln>
          <a:effectLst/>
        </p:spPr>
        <p:txBody>
          <a:bodyPr vert="horz" wrap="square" lIns="0" tIns="0" rIns="0" bIns="0" rtlCol="0">
            <a:spAutoFit/>
          </a:bodyPr>
          <a:lstStyle/>
          <a:p>
            <a:pPr>
              <a:lnSpc>
                <a:spcPct val="110000"/>
              </a:lnSpc>
            </a:pPr>
            <a:r>
              <a:rPr lang="en-GB" sz="8800" dirty="0">
                <a:solidFill>
                  <a:schemeClr val="bg1"/>
                </a:solidFill>
              </a:rPr>
              <a:t>FILLER PICTURE</a:t>
            </a:r>
            <a:endParaRPr lang="en-US" sz="8800" dirty="0">
              <a:solidFill>
                <a:schemeClr val="bg1"/>
              </a:solidFill>
            </a:endParaRPr>
          </a:p>
        </p:txBody>
      </p:sp>
    </p:spTree>
    <p:extLst>
      <p:ext uri="{BB962C8B-B14F-4D97-AF65-F5344CB8AC3E}">
        <p14:creationId xmlns:p14="http://schemas.microsoft.com/office/powerpoint/2010/main" val="2287630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42271985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3" name="Object 12" hidden="1"/>
                      <p:cNvPicPr/>
                      <p:nvPr/>
                    </p:nvPicPr>
                    <p:blipFill>
                      <a:blip r:embed="rId9"/>
                      <a:stretch>
                        <a:fillRect/>
                      </a:stretch>
                    </p:blipFill>
                    <p:spPr>
                      <a:xfrm>
                        <a:off x="0" y="0"/>
                        <a:ext cx="112252" cy="224510"/>
                      </a:xfrm>
                      <a:prstGeom prst="rect">
                        <a:avLst/>
                      </a:prstGeom>
                    </p:spPr>
                  </p:pic>
                </p:oleObj>
              </mc:Fallback>
            </mc:AlternateContent>
          </a:graphicData>
        </a:graphic>
      </p:graphicFrame>
      <p:sp>
        <p:nvSpPr>
          <p:cNvPr id="32" name="Text Placeholder 4"/>
          <p:cNvSpPr>
            <a:spLocks noGrp="1"/>
          </p:cNvSpPr>
          <p:nvPr>
            <p:ph type="body" sz="quarter" idx="18" hasCustomPrompt="1"/>
            <p:custDataLst>
              <p:tags r:id="rId2"/>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9"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2" name="Text Placeholder 4"/>
          <p:cNvSpPr>
            <a:spLocks noGrp="1"/>
          </p:cNvSpPr>
          <p:nvPr>
            <p:ph type="body" sz="quarter" idx="19" hasCustomPrompt="1"/>
            <p:custDataLst>
              <p:tags r:id="rId4"/>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7" name="Text Placeholder 18"/>
          <p:cNvSpPr>
            <a:spLocks noGrp="1"/>
          </p:cNvSpPr>
          <p:nvPr>
            <p:ph type="body" sz="quarter" idx="16" hasCustomPrompt="1"/>
            <p:custDataLst>
              <p:tags r:id="rId6"/>
            </p:custDataLst>
          </p:nvPr>
        </p:nvSpPr>
        <p:spPr>
          <a:xfrm>
            <a:off x="2270125" y="1817688"/>
            <a:ext cx="4643437"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Tree>
    <p:extLst>
      <p:ext uri="{BB962C8B-B14F-4D97-AF65-F5344CB8AC3E}">
        <p14:creationId xmlns:p14="http://schemas.microsoft.com/office/powerpoint/2010/main" val="2540207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65886601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3" name="Object 12" hidden="1"/>
                      <p:cNvPicPr/>
                      <p:nvPr/>
                    </p:nvPicPr>
                    <p:blipFill>
                      <a:blip r:embed="rId11"/>
                      <a:stretch>
                        <a:fillRect/>
                      </a:stretch>
                    </p:blipFill>
                    <p:spPr>
                      <a:xfrm>
                        <a:off x="0" y="0"/>
                        <a:ext cx="112252" cy="224510"/>
                      </a:xfrm>
                      <a:prstGeom prst="rect">
                        <a:avLst/>
                      </a:prstGeom>
                    </p:spPr>
                  </p:pic>
                </p:oleObj>
              </mc:Fallback>
            </mc:AlternateContent>
          </a:graphicData>
        </a:graphic>
      </p:graphicFrame>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6"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7" name="Picture Placeholder 8"/>
          <p:cNvSpPr>
            <a:spLocks noGrp="1"/>
          </p:cNvSpPr>
          <p:nvPr>
            <p:ph type="pic" sz="quarter" idx="20"/>
            <p:custDataLst>
              <p:tags r:id="rId4"/>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8" name="Text Placeholder 18"/>
          <p:cNvSpPr>
            <a:spLocks noGrp="1"/>
          </p:cNvSpPr>
          <p:nvPr>
            <p:ph type="body" sz="quarter" idx="16" hasCustomPrompt="1"/>
            <p:custDataLst>
              <p:tags r:id="rId5"/>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0" name="Text Placeholder 18"/>
          <p:cNvSpPr>
            <a:spLocks noGrp="1"/>
          </p:cNvSpPr>
          <p:nvPr>
            <p:ph type="body" sz="quarter" idx="21" hasCustomPrompt="1"/>
            <p:custDataLst>
              <p:tags r:id="rId6"/>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7"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453127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607689984"/>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0" name="Picture Placeholder 8"/>
          <p:cNvSpPr>
            <a:spLocks noGrp="1"/>
          </p:cNvSpPr>
          <p:nvPr>
            <p:ph type="pic" sz="quarter" idx="12"/>
            <p:custDataLst>
              <p:tags r:id="rId2"/>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3" name="Picture Placeholder 8"/>
          <p:cNvSpPr>
            <a:spLocks noGrp="1"/>
          </p:cNvSpPr>
          <p:nvPr>
            <p:ph type="pic" sz="quarter" idx="20"/>
            <p:custDataLst>
              <p:tags r:id="rId3"/>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16" hasCustomPrompt="1"/>
            <p:custDataLst>
              <p:tags r:id="rId4"/>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42" name="Text Placeholder 18"/>
          <p:cNvSpPr>
            <a:spLocks noGrp="1"/>
          </p:cNvSpPr>
          <p:nvPr>
            <p:ph type="body" sz="quarter" idx="21" hasCustomPrompt="1"/>
            <p:custDataLst>
              <p:tags r:id="rId5"/>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6"/>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2"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4" name="Picture Placeholder 8"/>
          <p:cNvSpPr>
            <a:spLocks noGrp="1"/>
          </p:cNvSpPr>
          <p:nvPr>
            <p:ph type="pic" sz="quarter" idx="22"/>
            <p:custDataLst>
              <p:tags r:id="rId9"/>
            </p:custDataLst>
          </p:nvPr>
        </p:nvSpPr>
        <p:spPr>
          <a:xfrm>
            <a:off x="684000"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23"/>
            <p:custDataLst>
              <p:tags r:id="rId10"/>
            </p:custDataLst>
          </p:nvPr>
        </p:nvSpPr>
        <p:spPr>
          <a:xfrm>
            <a:off x="3889375"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6" name="Text Placeholder 18"/>
          <p:cNvSpPr>
            <a:spLocks noGrp="1"/>
          </p:cNvSpPr>
          <p:nvPr>
            <p:ph type="body" sz="quarter" idx="24" hasCustomPrompt="1"/>
            <p:custDataLst>
              <p:tags r:id="rId11"/>
            </p:custDataLst>
          </p:nvPr>
        </p:nvSpPr>
        <p:spPr>
          <a:xfrm>
            <a:off x="2270126"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7" name="Text Placeholder 18"/>
          <p:cNvSpPr>
            <a:spLocks noGrp="1"/>
          </p:cNvSpPr>
          <p:nvPr>
            <p:ph type="body" sz="quarter" idx="25" hasCustomPrompt="1"/>
            <p:custDataLst>
              <p:tags r:id="rId12"/>
            </p:custDataLst>
          </p:nvPr>
        </p:nvSpPr>
        <p:spPr>
          <a:xfrm>
            <a:off x="5511801"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8" name="Text Placeholder 4"/>
          <p:cNvSpPr>
            <a:spLocks noGrp="1"/>
          </p:cNvSpPr>
          <p:nvPr>
            <p:ph type="body" sz="quarter" idx="26" hasCustomPrompt="1"/>
            <p:custDataLst>
              <p:tags r:id="rId13"/>
            </p:custDataLst>
          </p:nvPr>
        </p:nvSpPr>
        <p:spPr>
          <a:xfrm>
            <a:off x="684000" y="7434414"/>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9" name="Text Placeholder 4"/>
          <p:cNvSpPr>
            <a:spLocks noGrp="1"/>
          </p:cNvSpPr>
          <p:nvPr>
            <p:ph type="body" sz="quarter" idx="27" hasCustomPrompt="1"/>
            <p:custDataLst>
              <p:tags r:id="rId14"/>
            </p:custDataLst>
          </p:nvPr>
        </p:nvSpPr>
        <p:spPr>
          <a:xfrm>
            <a:off x="3889375" y="7434414"/>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3046583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sclaimer/Last page">
    <p:spTree>
      <p:nvGrpSpPr>
        <p:cNvPr id="1" name=""/>
        <p:cNvGrpSpPr/>
        <p:nvPr/>
      </p:nvGrpSpPr>
      <p:grpSpPr>
        <a:xfrm>
          <a:off x="0" y="0"/>
          <a:ext cx="0" cy="0"/>
          <a:chOff x="0" y="0"/>
          <a:chExt cx="0" cy="0"/>
        </a:xfrm>
      </p:grpSpPr>
      <p:sp>
        <p:nvSpPr>
          <p:cNvPr id="8" name="Picture Placeholder 19"/>
          <p:cNvSpPr>
            <a:spLocks noGrp="1"/>
          </p:cNvSpPr>
          <p:nvPr>
            <p:ph type="pic" sz="quarter" idx="11" hasCustomPrompt="1"/>
            <p:custDataLst>
              <p:tags r:id="rId1"/>
            </p:custDataLst>
          </p:nvPr>
        </p:nvSpPr>
        <p:spPr>
          <a:xfrm>
            <a:off x="2003329" y="1809750"/>
            <a:ext cx="5569045" cy="888682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4683220 w 6307004"/>
              <a:gd name="connsiteY4" fmla="*/ 1819275 h 10696575"/>
              <a:gd name="connsiteX5" fmla="*/ 5632914 w 6307004"/>
              <a:gd name="connsiteY5" fmla="*/ 0 h 10696575"/>
              <a:gd name="connsiteX0" fmla="*/ 5632914 w 6307004"/>
              <a:gd name="connsiteY0" fmla="*/ 0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6" fmla="*/ 5632914 w 6307004"/>
              <a:gd name="connsiteY6" fmla="*/ 0 h 10696575"/>
              <a:gd name="connsiteX0" fmla="*/ 4683220 w 6307004"/>
              <a:gd name="connsiteY0" fmla="*/ 1819275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0" fmla="*/ 4683220 w 6307004"/>
              <a:gd name="connsiteY0" fmla="*/ 9525 h 8886825"/>
              <a:gd name="connsiteX1" fmla="*/ 62929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292945 w 6307004"/>
              <a:gd name="connsiteY2" fmla="*/ 0 h 8886825"/>
              <a:gd name="connsiteX3" fmla="*/ 6307004 w 6307004"/>
              <a:gd name="connsiteY3" fmla="*/ 8886825 h 8886825"/>
              <a:gd name="connsiteX4" fmla="*/ 0 w 6307004"/>
              <a:gd name="connsiteY4" fmla="*/ 8886825 h 8886825"/>
              <a:gd name="connsiteX5" fmla="*/ 4683220 w 6307004"/>
              <a:gd name="connsiteY5"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5569045 w 6307004"/>
              <a:gd name="connsiteY3" fmla="*/ 8877300 h 8886825"/>
              <a:gd name="connsiteX4" fmla="*/ 0 w 6307004"/>
              <a:gd name="connsiteY4" fmla="*/ 8886825 h 8886825"/>
              <a:gd name="connsiteX5" fmla="*/ 4683220 w 6307004"/>
              <a:gd name="connsiteY5" fmla="*/ 9525 h 8886825"/>
              <a:gd name="connsiteX0" fmla="*/ 4683220 w 5569045"/>
              <a:gd name="connsiteY0" fmla="*/ 9525 h 8886825"/>
              <a:gd name="connsiteX1" fmla="*/ 5569045 w 5569045"/>
              <a:gd name="connsiteY1" fmla="*/ 0 h 8886825"/>
              <a:gd name="connsiteX2" fmla="*/ 5569045 w 5569045"/>
              <a:gd name="connsiteY2" fmla="*/ 8877300 h 8886825"/>
              <a:gd name="connsiteX3" fmla="*/ 0 w 5569045"/>
              <a:gd name="connsiteY3" fmla="*/ 8886825 h 8886825"/>
              <a:gd name="connsiteX4" fmla="*/ 4683220 w 5569045"/>
              <a:gd name="connsiteY4" fmla="*/ 9525 h 8886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045" h="8886825">
                <a:moveTo>
                  <a:pt x="4683220" y="9525"/>
                </a:moveTo>
                <a:lnTo>
                  <a:pt x="5569045" y="0"/>
                </a:lnTo>
                <a:lnTo>
                  <a:pt x="5569045" y="8877300"/>
                </a:lnTo>
                <a:lnTo>
                  <a:pt x="0" y="8886825"/>
                </a:lnTo>
                <a:lnTo>
                  <a:pt x="4683220" y="9525"/>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6" name="Freeform 15"/>
          <p:cNvSpPr/>
          <p:nvPr userDrawn="1"/>
        </p:nvSpPr>
        <p:spPr>
          <a:xfrm>
            <a:off x="0" y="1809750"/>
            <a:ext cx="6708775" cy="8875713"/>
          </a:xfrm>
          <a:custGeom>
            <a:avLst/>
            <a:gdLst>
              <a:gd name="connsiteX0" fmla="*/ 0 w 6708775"/>
              <a:gd name="connsiteY0" fmla="*/ 0 h 8875713"/>
              <a:gd name="connsiteX1" fmla="*/ 6708775 w 6708775"/>
              <a:gd name="connsiteY1" fmla="*/ 0 h 8875713"/>
              <a:gd name="connsiteX2" fmla="*/ 2008558 w 6708775"/>
              <a:gd name="connsiteY2" fmla="*/ 8875713 h 8875713"/>
              <a:gd name="connsiteX3" fmla="*/ 0 w 6708775"/>
              <a:gd name="connsiteY3" fmla="*/ 8875713 h 8875713"/>
              <a:gd name="connsiteX4" fmla="*/ 0 w 6708775"/>
              <a:gd name="connsiteY4" fmla="*/ 0 h 8875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8875713">
                <a:moveTo>
                  <a:pt x="0" y="0"/>
                </a:moveTo>
                <a:lnTo>
                  <a:pt x="6708775" y="0"/>
                </a:lnTo>
                <a:lnTo>
                  <a:pt x="2008558" y="8875713"/>
                </a:lnTo>
                <a:lnTo>
                  <a:pt x="0" y="887571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55193248"/>
              </p:ext>
            </p:extLst>
          </p:nvPr>
        </p:nvGraphicFramePr>
        <p:xfrm>
          <a:off x="1" y="1"/>
          <a:ext cx="131272" cy="247532"/>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1272" cy="2475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3"/>
          <p:cNvSpPr>
            <a:spLocks noGrp="1"/>
          </p:cNvSpPr>
          <p:nvPr>
            <p:ph type="body" sz="quarter" idx="15" hasCustomPrompt="1"/>
            <p:custDataLst>
              <p:tags r:id="rId3"/>
            </p:custDataLst>
          </p:nvPr>
        </p:nvSpPr>
        <p:spPr>
          <a:xfrm>
            <a:off x="684000"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a:t>
            </a:r>
          </a:p>
        </p:txBody>
      </p:sp>
      <p:sp>
        <p:nvSpPr>
          <p:cNvPr id="14" name="Text Placeholder 13"/>
          <p:cNvSpPr>
            <a:spLocks noGrp="1"/>
          </p:cNvSpPr>
          <p:nvPr>
            <p:ph type="body" sz="quarter" idx="14" hasCustomPrompt="1"/>
            <p:custDataLst>
              <p:tags r:id="rId4"/>
            </p:custDataLst>
          </p:nvPr>
        </p:nvSpPr>
        <p:spPr>
          <a:xfrm>
            <a:off x="701676" y="5468295"/>
            <a:ext cx="2978150" cy="381643"/>
          </a:xfrm>
          <a:prstGeom prst="rect">
            <a:avLst/>
          </a:prstGeom>
        </p:spPr>
        <p:txBody>
          <a:bodyPr lIns="0" tIns="0" rIns="0" bIns="0" anchor="b" anchorCtr="0"/>
          <a:lstStyle>
            <a:lvl1pPr marL="0" indent="0">
              <a:spcBef>
                <a:spcPts val="0"/>
              </a:spcBef>
              <a:spcAft>
                <a:spcPts val="600"/>
              </a:spcAft>
              <a:buNone/>
              <a:defRPr sz="900" b="0">
                <a:solidFill>
                  <a:schemeClr val="bg1"/>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 </a:t>
            </a:r>
            <a:r>
              <a:rPr lang="en-US" dirty="0" err="1"/>
              <a:t>xxxx</a:t>
            </a:r>
            <a:endParaRPr lang="en-US" dirty="0"/>
          </a:p>
          <a:p>
            <a:pPr lvl="0"/>
            <a:r>
              <a:rPr lang="en-US" dirty="0"/>
              <a:t>Disclaimer information here</a:t>
            </a:r>
          </a:p>
        </p:txBody>
      </p:sp>
      <p:sp>
        <p:nvSpPr>
          <p:cNvPr id="15" name="Text Placeholder 13"/>
          <p:cNvSpPr>
            <a:spLocks noGrp="1"/>
          </p:cNvSpPr>
          <p:nvPr>
            <p:ph type="body" sz="quarter" idx="17" hasCustomPrompt="1"/>
            <p:custDataLst>
              <p:tags r:id="rId5"/>
            </p:custDataLst>
          </p:nvPr>
        </p:nvSpPr>
        <p:spPr>
          <a:xfrm>
            <a:off x="2811463"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 </a:t>
            </a: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760253"/>
            <a:ext cx="1394551" cy="408522"/>
          </a:xfrm>
          <a:prstGeom prst="rect">
            <a:avLst/>
          </a:prstGeom>
        </p:spPr>
      </p:pic>
    </p:spTree>
    <p:extLst>
      <p:ext uri="{BB962C8B-B14F-4D97-AF65-F5344CB8AC3E}">
        <p14:creationId xmlns:p14="http://schemas.microsoft.com/office/powerpoint/2010/main" val="1439600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On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0630383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9" name="Freeform 89"/>
          <p:cNvSpPr>
            <a:spLocks/>
          </p:cNvSpPr>
          <p:nvPr userDrawn="1"/>
        </p:nvSpPr>
        <p:spPr bwMode="auto">
          <a:xfrm>
            <a:off x="957262" y="1828799"/>
            <a:ext cx="6604001" cy="8864601"/>
          </a:xfrm>
          <a:custGeom>
            <a:avLst/>
            <a:gdLst>
              <a:gd name="T0" fmla="*/ 4160 w 4160"/>
              <a:gd name="T1" fmla="*/ 0 h 5584"/>
              <a:gd name="T2" fmla="*/ 2937 w 4160"/>
              <a:gd name="T3" fmla="*/ 0 h 5584"/>
              <a:gd name="T4" fmla="*/ 0 w 4160"/>
              <a:gd name="T5" fmla="*/ 5584 h 5584"/>
              <a:gd name="T6" fmla="*/ 4160 w 4160"/>
              <a:gd name="T7" fmla="*/ 5584 h 5584"/>
              <a:gd name="T8" fmla="*/ 4160 w 4160"/>
              <a:gd name="T9" fmla="*/ 0 h 5584"/>
            </a:gdLst>
            <a:ahLst/>
            <a:cxnLst>
              <a:cxn ang="0">
                <a:pos x="T0" y="T1"/>
              </a:cxn>
              <a:cxn ang="0">
                <a:pos x="T2" y="T3"/>
              </a:cxn>
              <a:cxn ang="0">
                <a:pos x="T4" y="T5"/>
              </a:cxn>
              <a:cxn ang="0">
                <a:pos x="T6" y="T7"/>
              </a:cxn>
              <a:cxn ang="0">
                <a:pos x="T8" y="T9"/>
              </a:cxn>
            </a:cxnLst>
            <a:rect l="0" t="0" r="r" b="b"/>
            <a:pathLst>
              <a:path w="4160" h="5584">
                <a:moveTo>
                  <a:pt x="4160" y="0"/>
                </a:moveTo>
                <a:lnTo>
                  <a:pt x="2937" y="0"/>
                </a:lnTo>
                <a:lnTo>
                  <a:pt x="0" y="5584"/>
                </a:lnTo>
                <a:lnTo>
                  <a:pt x="4160" y="5584"/>
                </a:lnTo>
                <a:lnTo>
                  <a:pt x="4160" y="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80885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422255201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11"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3"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779784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On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custDataLst>
              <p:tags r:id="rId1"/>
            </p:custDataLst>
          </p:nvPr>
        </p:nvPicPr>
        <p:blipFill rotWithShape="1">
          <a:blip r:embed="rId6">
            <a:extLst>
              <a:ext uri="{28A0092B-C50C-407E-A947-70E740481C1C}">
                <a14:useLocalDpi xmlns:a14="http://schemas.microsoft.com/office/drawing/2010/main" val="0"/>
              </a:ext>
            </a:extLst>
          </a:blip>
          <a:srcRect l="32181" t="1188" r="-12710" b="118"/>
          <a:stretch/>
        </p:blipFill>
        <p:spPr>
          <a:xfrm>
            <a:off x="925" y="1835150"/>
            <a:ext cx="7556898" cy="8855076"/>
          </a:xfrm>
          <a:prstGeom prst="rect">
            <a:avLst/>
          </a:prstGeom>
          <a:noFill/>
          <a:ln>
            <a:noFill/>
          </a:ln>
        </p:spPr>
      </p:pic>
      <p:sp>
        <p:nvSpPr>
          <p:cNvPr id="12" name="Freeform 278"/>
          <p:cNvSpPr>
            <a:spLocks/>
          </p:cNvSpPr>
          <p:nvPr userDrawn="1"/>
        </p:nvSpPr>
        <p:spPr bwMode="auto">
          <a:xfrm>
            <a:off x="252413" y="1835150"/>
            <a:ext cx="7308850" cy="8858251"/>
          </a:xfrm>
          <a:custGeom>
            <a:avLst/>
            <a:gdLst>
              <a:gd name="T0" fmla="*/ 4604 w 4604"/>
              <a:gd name="T1" fmla="*/ 5580 h 5580"/>
              <a:gd name="T2" fmla="*/ 4604 w 4604"/>
              <a:gd name="T3" fmla="*/ 0 h 5580"/>
              <a:gd name="T4" fmla="*/ 2937 w 4604"/>
              <a:gd name="T5" fmla="*/ 0 h 5580"/>
              <a:gd name="T6" fmla="*/ 0 w 4604"/>
              <a:gd name="T7" fmla="*/ 5580 h 5580"/>
              <a:gd name="T8" fmla="*/ 4604 w 4604"/>
              <a:gd name="T9" fmla="*/ 5580 h 5580"/>
            </a:gdLst>
            <a:ahLst/>
            <a:cxnLst>
              <a:cxn ang="0">
                <a:pos x="T0" y="T1"/>
              </a:cxn>
              <a:cxn ang="0">
                <a:pos x="T2" y="T3"/>
              </a:cxn>
              <a:cxn ang="0">
                <a:pos x="T4" y="T5"/>
              </a:cxn>
              <a:cxn ang="0">
                <a:pos x="T6" y="T7"/>
              </a:cxn>
              <a:cxn ang="0">
                <a:pos x="T8" y="T9"/>
              </a:cxn>
            </a:cxnLst>
            <a:rect l="0" t="0" r="r" b="b"/>
            <a:pathLst>
              <a:path w="4604" h="5580">
                <a:moveTo>
                  <a:pt x="4604" y="5580"/>
                </a:moveTo>
                <a:lnTo>
                  <a:pt x="4604" y="0"/>
                </a:lnTo>
                <a:lnTo>
                  <a:pt x="2937" y="0"/>
                </a:lnTo>
                <a:lnTo>
                  <a:pt x="0" y="5580"/>
                </a:lnTo>
                <a:lnTo>
                  <a:pt x="4604"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3995850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4776787" y="4479877"/>
            <a:ext cx="2136776" cy="984885"/>
          </a:xfrm>
          <a:prstGeom prst="rect">
            <a:avLst/>
          </a:prstGeom>
        </p:spPr>
        <p:txBody>
          <a:bodyPr wrap="square" anchor="b" anchorCtr="0">
            <a:spAutoFit/>
          </a:bodyPr>
          <a:lstStyle>
            <a:lvl1pPr algn="r">
              <a:defRPr sz="3200" baseline="0">
                <a:solidFill>
                  <a:schemeClr val="bg1"/>
                </a:solidFill>
              </a:defRPr>
            </a:lvl1pPr>
          </a:lstStyle>
          <a:p>
            <a:r>
              <a:rPr lang="en-US" dirty="0"/>
              <a:t>Section headline</a:t>
            </a:r>
            <a:endParaRPr lang="en-GB" dirty="0"/>
          </a:p>
        </p:txBody>
      </p:sp>
      <p:sp>
        <p:nvSpPr>
          <p:cNvPr id="3" name="Subtitle 2"/>
          <p:cNvSpPr>
            <a:spLocks noGrp="1"/>
          </p:cNvSpPr>
          <p:nvPr>
            <p:ph type="subTitle" idx="1" hasCustomPrompt="1"/>
            <p:custDataLst>
              <p:tags r:id="rId4"/>
            </p:custDataLst>
          </p:nvPr>
        </p:nvSpPr>
        <p:spPr>
          <a:xfrm>
            <a:off x="3922713" y="5820002"/>
            <a:ext cx="2990850" cy="246221"/>
          </a:xfrm>
          <a:prstGeom prst="rect">
            <a:avLst/>
          </a:prstGeom>
        </p:spPr>
        <p:txBody>
          <a:bodyPr/>
          <a:lstStyle>
            <a:lvl1pPr marL="0" marR="0" indent="0" algn="r"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bg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661180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7186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6099"/>
            <a:ext cx="3168652" cy="492443"/>
          </a:xfrm>
          <a:prstGeom prst="rect">
            <a:avLst/>
          </a:prstGeom>
        </p:spPr>
        <p:txBody>
          <a:bodyPr wrap="square" anchor="b" anchorCtr="0">
            <a:spAutoFit/>
          </a:bodyPr>
          <a:lstStyle>
            <a:lvl1pPr algn="l">
              <a:defRPr sz="3200" baseline="0">
                <a:solidFill>
                  <a:schemeClr val="accent1"/>
                </a:solidFill>
              </a:defRPr>
            </a:lvl1pPr>
          </a:lstStyle>
          <a:p>
            <a:r>
              <a:rPr lang="en-US" dirty="0"/>
              <a:t>Section headline</a:t>
            </a:r>
            <a:endParaRPr lang="en-GB" dirty="0"/>
          </a:p>
        </p:txBody>
      </p:sp>
      <p:sp>
        <p:nvSpPr>
          <p:cNvPr id="3" name="Subtitle 2"/>
          <p:cNvSpPr>
            <a:spLocks noGrp="1"/>
          </p:cNvSpPr>
          <p:nvPr>
            <p:ph type="subTitle" idx="1" hasCustomPrompt="1"/>
            <p:custDataLst>
              <p:tags r:id="rId3"/>
            </p:custDataLst>
          </p:nvPr>
        </p:nvSpPr>
        <p:spPr>
          <a:xfrm>
            <a:off x="684213" y="2629707"/>
            <a:ext cx="3168651" cy="150599"/>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10"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1"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900036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62180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custDataLst>
              <p:tags r:id="rId2"/>
            </p:custDataLst>
          </p:nvPr>
        </p:nvSpPr>
        <p:spPr>
          <a:xfrm>
            <a:off x="683671" y="1817689"/>
            <a:ext cx="6229892"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429707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554847356"/>
      </p:ext>
    </p:extLst>
  </p:cSld>
  <p:clrMapOvr>
    <a:masterClrMapping/>
  </p:clrMapOvr>
  <p:extLst>
    <p:ext uri="{DCECCB84-F9BA-43D5-87BE-67443E8EF086}">
      <p15:sldGuideLst xmlns:p15="http://schemas.microsoft.com/office/powerpoint/2012/main">
        <p15:guide id="2" pos="2313">
          <p15:clr>
            <a:srgbClr val="FBAE40"/>
          </p15:clr>
        </p15:guide>
        <p15:guide id="3" pos="245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35"/>
            </p:custDataLst>
            <p:extLst>
              <p:ext uri="{D42A27DB-BD31-4B8C-83A1-F6EECF244321}">
                <p14:modId xmlns:p14="http://schemas.microsoft.com/office/powerpoint/2010/main" val="94456142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5" name="Object 4" hidden="1"/>
                      <p:cNvPicPr/>
                      <p:nvPr/>
                    </p:nvPicPr>
                    <p:blipFill>
                      <a:blip r:embed="rId37"/>
                      <a:stretch>
                        <a:fillRect/>
                      </a:stretch>
                    </p:blipFill>
                    <p:spPr>
                      <a:xfrm>
                        <a:off x="0" y="0"/>
                        <a:ext cx="112252" cy="224510"/>
                      </a:xfrm>
                      <a:prstGeom prst="rect">
                        <a:avLst/>
                      </a:prstGeom>
                    </p:spPr>
                  </p:pic>
                </p:oleObj>
              </mc:Fallback>
            </mc:AlternateContent>
          </a:graphicData>
        </a:graphic>
      </p:graphicFrame>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98" r:id="rId3"/>
    <p:sldLayoutId id="2147483677" r:id="rId4"/>
    <p:sldLayoutId id="2147483720" r:id="rId5"/>
    <p:sldLayoutId id="2147483678" r:id="rId6"/>
    <p:sldLayoutId id="2147483711" r:id="rId7"/>
    <p:sldLayoutId id="2147483685" r:id="rId8"/>
    <p:sldLayoutId id="2147483656" r:id="rId9"/>
    <p:sldLayoutId id="2147483703" r:id="rId10"/>
    <p:sldLayoutId id="2147483713" r:id="rId11"/>
    <p:sldLayoutId id="2147483714" r:id="rId12"/>
    <p:sldLayoutId id="2147483657" r:id="rId13"/>
    <p:sldLayoutId id="2147483686" r:id="rId14"/>
    <p:sldLayoutId id="2147483688" r:id="rId15"/>
    <p:sldLayoutId id="2147483651" r:id="rId16"/>
    <p:sldLayoutId id="2147483706" r:id="rId17"/>
    <p:sldLayoutId id="2147483681" r:id="rId18"/>
    <p:sldLayoutId id="2147483704" r:id="rId19"/>
    <p:sldLayoutId id="2147483702" r:id="rId20"/>
    <p:sldLayoutId id="2147483723" r:id="rId21"/>
    <p:sldLayoutId id="2147483724" r:id="rId22"/>
    <p:sldLayoutId id="2147483715" r:id="rId23"/>
    <p:sldLayoutId id="2147483716" r:id="rId24"/>
    <p:sldLayoutId id="2147483717" r:id="rId25"/>
    <p:sldLayoutId id="2147483718" r:id="rId26"/>
    <p:sldLayoutId id="2147483708" r:id="rId27"/>
    <p:sldLayoutId id="2147483709" r:id="rId28"/>
    <p:sldLayoutId id="2147483692" r:id="rId29"/>
    <p:sldLayoutId id="2147483695" r:id="rId30"/>
    <p:sldLayoutId id="2147483696" r:id="rId31"/>
    <p:sldLayoutId id="2147483705" r:id="rId32"/>
    <p:sldLayoutId id="2147483690" r:id="rId33"/>
  </p:sldLayoutIdLst>
  <p:hf hdr="0" dt="0"/>
  <p:txStyles>
    <p:titleStyle>
      <a:lvl1pPr algn="l" defTabSz="995690" rtl="0" eaLnBrk="1" latinLnBrk="0" hangingPunct="1">
        <a:spcBef>
          <a:spcPct val="0"/>
        </a:spcBef>
        <a:buNone/>
        <a:defRPr sz="2400" b="0" kern="1200" baseline="0">
          <a:solidFill>
            <a:schemeClr val="accent6"/>
          </a:solidFill>
          <a:latin typeface="+mj-lt"/>
          <a:ea typeface="+mj-ea"/>
          <a:cs typeface="+mj-cs"/>
        </a:defRPr>
      </a:lvl1pPr>
    </p:titleStyle>
    <p:body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0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p:bodyStyle>
    <p:other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6407">
          <p15:clr>
            <a:srgbClr val="F26B43"/>
          </p15:clr>
        </p15:guide>
        <p15:guide id="23" orient="horz" pos="1145">
          <p15:clr>
            <a:srgbClr val="F26B43"/>
          </p15:clr>
        </p15:guide>
        <p15:guide id="24" pos="431">
          <p15:clr>
            <a:srgbClr val="F26B43"/>
          </p15:clr>
        </p15:guide>
        <p15:guide id="25" pos="435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161.xml"/><Relationship Id="rId6" Type="http://schemas.openxmlformats.org/officeDocument/2006/relationships/hyperlink" Target="mailto:peter.love@cushwake.com" TargetMode="External"/><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7.bin"/><Relationship Id="rId9"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85503" y="3185652"/>
            <a:ext cx="1578078" cy="1120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308991" y="6889958"/>
            <a:ext cx="2146742" cy="338554"/>
          </a:xfrm>
          <a:prstGeom prst="rect">
            <a:avLst/>
          </a:prstGeom>
        </p:spPr>
        <p:txBody>
          <a:bodyPr wrap="none">
            <a:spAutoFit/>
          </a:bodyPr>
          <a:lstStyle/>
          <a:p>
            <a:r>
              <a:rPr lang="en-US" sz="1600" b="1" dirty="0">
                <a:solidFill>
                  <a:schemeClr val="tx2"/>
                </a:solidFill>
              </a:rPr>
              <a:t>Property Highlights </a:t>
            </a:r>
          </a:p>
        </p:txBody>
      </p:sp>
      <p:sp>
        <p:nvSpPr>
          <p:cNvPr id="7" name="Rectangle 6"/>
          <p:cNvSpPr/>
          <p:nvPr/>
        </p:nvSpPr>
        <p:spPr>
          <a:xfrm>
            <a:off x="4531356" y="6870524"/>
            <a:ext cx="947695" cy="338554"/>
          </a:xfrm>
          <a:prstGeom prst="rect">
            <a:avLst/>
          </a:prstGeom>
        </p:spPr>
        <p:txBody>
          <a:bodyPr wrap="none">
            <a:spAutoFit/>
          </a:bodyPr>
          <a:lstStyle/>
          <a:p>
            <a:r>
              <a:rPr lang="en-US" sz="1600" b="1" dirty="0">
                <a:solidFill>
                  <a:schemeClr val="tx2"/>
                </a:solidFill>
              </a:rPr>
              <a:t>Contact</a:t>
            </a:r>
            <a:endParaRPr lang="en-US" sz="1400" b="1" dirty="0">
              <a:solidFill>
                <a:schemeClr val="tx2"/>
              </a:solidFill>
            </a:endParaRPr>
          </a:p>
        </p:txBody>
      </p:sp>
      <p:sp>
        <p:nvSpPr>
          <p:cNvPr id="8" name="TextBox 7"/>
          <p:cNvSpPr txBox="1"/>
          <p:nvPr/>
        </p:nvSpPr>
        <p:spPr>
          <a:xfrm>
            <a:off x="450659" y="7275859"/>
            <a:ext cx="3703157" cy="2185214"/>
          </a:xfrm>
          <a:prstGeom prst="rect">
            <a:avLst/>
          </a:prstGeom>
          <a:noFill/>
          <a:ln>
            <a:noFill/>
          </a:ln>
          <a:effectLst/>
        </p:spPr>
        <p:txBody>
          <a:bodyPr vert="horz" wrap="square" lIns="0" tIns="0" rIns="0" bIns="0" rtlCol="0">
            <a:spAutoFit/>
          </a:bodyPr>
          <a:lstStyle/>
          <a:p>
            <a:pPr marL="342900" lvl="0" indent="-342900" algn="just">
              <a:spcAft>
                <a:spcPts val="0"/>
              </a:spcAft>
              <a:buFont typeface="Symbol" panose="05050102010706020507" pitchFamily="18" charset="2"/>
              <a:buChar char=""/>
              <a:tabLst>
                <a:tab pos="457200" algn="l"/>
              </a:tabLst>
            </a:pPr>
            <a:r>
              <a:rPr lang="en-US" sz="1200" dirty="0">
                <a:ea typeface="Calibri" panose="020F0502020204030204" pitchFamily="34" charset="0"/>
              </a:rPr>
              <a:t>An exceptional opportunity to let a self-contained commercial unit in the heart of Harold's Cross.</a:t>
            </a:r>
          </a:p>
          <a:p>
            <a:pPr marL="342900" lvl="0" indent="-342900" algn="just">
              <a:spcAft>
                <a:spcPts val="0"/>
              </a:spcAft>
              <a:buFont typeface="Symbol" panose="05050102010706020507" pitchFamily="18" charset="2"/>
              <a:buChar char=""/>
              <a:tabLst>
                <a:tab pos="457200" algn="l"/>
              </a:tabLst>
            </a:pPr>
            <a:r>
              <a:rPr lang="en-US" sz="1200" dirty="0">
                <a:ea typeface="Calibri" panose="020F0502020204030204" pitchFamily="34" charset="0"/>
              </a:rPr>
              <a:t>Extends to 63 sq m (679 sq ft) in total over ground and first floor, including a 38 sq m (407 sq ft) open plan ground floor retail space.</a:t>
            </a:r>
          </a:p>
          <a:p>
            <a:pPr marL="342900" lvl="0" indent="-342900" algn="just">
              <a:spcAft>
                <a:spcPts val="0"/>
              </a:spcAft>
              <a:buFont typeface="Symbol" panose="05050102010706020507" pitchFamily="18" charset="2"/>
              <a:buChar char=""/>
              <a:tabLst>
                <a:tab pos="457200" algn="l"/>
              </a:tabLst>
            </a:pPr>
            <a:r>
              <a:rPr lang="en-US" sz="1200" dirty="0">
                <a:ea typeface="Calibri" panose="020F0502020204030204" pitchFamily="34" charset="0"/>
              </a:rPr>
              <a:t>Benefits from a modern fit-out equipped with dual A/C, CCTV, extraction, in addition to commercial kitchen equipment. </a:t>
            </a:r>
          </a:p>
          <a:p>
            <a:pPr marL="342900" indent="-342900" algn="just">
              <a:buFont typeface="Symbol" panose="05050102010706020507" pitchFamily="18" charset="2"/>
              <a:buChar char=""/>
              <a:tabLst>
                <a:tab pos="457200" algn="l"/>
              </a:tabLst>
            </a:pPr>
            <a:r>
              <a:rPr lang="en-US" sz="1200" dirty="0"/>
              <a:t>Occupies a prominent trading position along Harold’s Cross Road, benefitting from a high level of passing traffic through the village.</a:t>
            </a:r>
            <a:endParaRPr lang="en-US" sz="1200" dirty="0">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IE" sz="1000" dirty="0">
              <a:ea typeface="Times New Roman" panose="02020603050405020304" pitchFamily="18" charset="0"/>
            </a:endParaRPr>
          </a:p>
        </p:txBody>
      </p:sp>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0" name="TextBox 9"/>
          <p:cNvSpPr txBox="1"/>
          <p:nvPr/>
        </p:nvSpPr>
        <p:spPr>
          <a:xfrm>
            <a:off x="4666786" y="7250717"/>
            <a:ext cx="2443818" cy="553998"/>
          </a:xfrm>
          <a:prstGeom prst="rect">
            <a:avLst/>
          </a:prstGeom>
          <a:noFill/>
          <a:ln>
            <a:noFill/>
          </a:ln>
          <a:effectLst/>
        </p:spPr>
        <p:txBody>
          <a:bodyPr vert="horz" wrap="square" lIns="0" tIns="0" rIns="0" bIns="0" rtlCol="0">
            <a:spAutoFit/>
          </a:bodyPr>
          <a:lstStyle/>
          <a:p>
            <a:r>
              <a:rPr lang="en-GB" sz="1200" b="1" dirty="0"/>
              <a:t>Peter Love</a:t>
            </a:r>
          </a:p>
          <a:p>
            <a:r>
              <a:rPr lang="en-GB" sz="1200" dirty="0"/>
              <a:t>Email: </a:t>
            </a:r>
            <a:r>
              <a:rPr lang="en-GB" sz="1200" dirty="0">
                <a:hlinkClick r:id="rId6"/>
              </a:rPr>
              <a:t>peter.love@cushwake.com</a:t>
            </a:r>
            <a:endParaRPr lang="en-GB" sz="1200" dirty="0"/>
          </a:p>
          <a:p>
            <a:r>
              <a:rPr lang="en-GB" sz="1200" dirty="0"/>
              <a:t>Tel: +353 1 639 9612</a:t>
            </a:r>
          </a:p>
        </p:txBody>
      </p:sp>
      <p:sp>
        <p:nvSpPr>
          <p:cNvPr id="18" name="TextBox 17"/>
          <p:cNvSpPr txBox="1"/>
          <p:nvPr/>
        </p:nvSpPr>
        <p:spPr>
          <a:xfrm>
            <a:off x="57043" y="54453"/>
            <a:ext cx="5733943" cy="710644"/>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kern="1200" dirty="0">
                <a:solidFill>
                  <a:schemeClr val="bg1"/>
                </a:solidFill>
                <a:effectLst/>
                <a:latin typeface="+mn-lt"/>
                <a:ea typeface="+mn-ea"/>
                <a:cs typeface="+mn-cs"/>
              </a:rPr>
              <a:t>Cafe Opportunity: To Let</a:t>
            </a:r>
          </a:p>
          <a:p>
            <a:pPr>
              <a:lnSpc>
                <a:spcPct val="110000"/>
              </a:lnSpc>
            </a:pP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4E81D94-011D-8DB5-4278-FD7362A6134B}"/>
              </a:ext>
            </a:extLst>
          </p:cNvPr>
          <p:cNvSpPr/>
          <p:nvPr/>
        </p:nvSpPr>
        <p:spPr>
          <a:xfrm>
            <a:off x="-2" y="9986315"/>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sp>
        <p:nvSpPr>
          <p:cNvPr id="13" name="TextBox 12">
            <a:extLst>
              <a:ext uri="{FF2B5EF4-FFF2-40B4-BE49-F238E27FC236}">
                <a16:creationId xmlns:a16="http://schemas.microsoft.com/office/drawing/2014/main" id="{2794FB89-B915-213F-3DC3-A491B07952BD}"/>
              </a:ext>
            </a:extLst>
          </p:cNvPr>
          <p:cNvSpPr txBox="1"/>
          <p:nvPr/>
        </p:nvSpPr>
        <p:spPr>
          <a:xfrm>
            <a:off x="4660145" y="7951459"/>
            <a:ext cx="3523840" cy="2034083"/>
          </a:xfrm>
          <a:prstGeom prst="rect">
            <a:avLst/>
          </a:prstGeom>
          <a:noFill/>
          <a:ln>
            <a:noFill/>
          </a:ln>
          <a:effectLst/>
        </p:spPr>
        <p:txBody>
          <a:bodyPr vert="horz" wrap="square" lIns="0" tIns="0" rIns="0" bIns="0" rtlCol="0">
            <a:spAutoFit/>
          </a:bodyPr>
          <a:lstStyle/>
          <a:p>
            <a:r>
              <a:rPr lang="en-GB" sz="1200" b="1" dirty="0"/>
              <a:t>Niall Kellegher</a:t>
            </a:r>
          </a:p>
          <a:p>
            <a:r>
              <a:rPr lang="en-GB" sz="1200" dirty="0"/>
              <a:t>Email: niall.kellegher@cushwake.com </a:t>
            </a:r>
          </a:p>
          <a:p>
            <a:r>
              <a:rPr lang="en-GB" sz="1200" dirty="0"/>
              <a:t>Tel: +353 87 487 2639</a:t>
            </a:r>
          </a:p>
          <a:p>
            <a:endParaRPr lang="en-GB" sz="1200" dirty="0"/>
          </a:p>
          <a:p>
            <a:r>
              <a:rPr lang="en-GB" sz="1200" dirty="0"/>
              <a:t>Cushman &amp; Wakefield</a:t>
            </a:r>
          </a:p>
          <a:p>
            <a:r>
              <a:rPr lang="en-GB" sz="1200" dirty="0"/>
              <a:t>164 Shelbourne Road</a:t>
            </a:r>
          </a:p>
          <a:p>
            <a:r>
              <a:rPr lang="en-GB" sz="1200" dirty="0"/>
              <a:t>Ballsbridge,</a:t>
            </a:r>
          </a:p>
          <a:p>
            <a:r>
              <a:rPr lang="en-GB" sz="1200" dirty="0"/>
              <a:t>Dublin 4 </a:t>
            </a:r>
          </a:p>
          <a:p>
            <a:r>
              <a:rPr lang="en-GB" sz="1200" dirty="0"/>
              <a:t>Ireland </a:t>
            </a:r>
          </a:p>
          <a:p>
            <a:r>
              <a:rPr lang="en-GB" sz="1200" dirty="0"/>
              <a:t>Tel: +353 (0)1 639 9300</a:t>
            </a:r>
          </a:p>
          <a:p>
            <a:pPr>
              <a:lnSpc>
                <a:spcPct val="110000"/>
              </a:lnSpc>
            </a:pPr>
            <a:endParaRPr lang="en-US" sz="1200" dirty="0"/>
          </a:p>
        </p:txBody>
      </p:sp>
      <p:pic>
        <p:nvPicPr>
          <p:cNvPr id="20" name="Picture 19">
            <a:extLst>
              <a:ext uri="{FF2B5EF4-FFF2-40B4-BE49-F238E27FC236}">
                <a16:creationId xmlns:a16="http://schemas.microsoft.com/office/drawing/2014/main" id="{7A8BFA2B-CD0A-7202-E83A-E801B0AF968F}"/>
              </a:ext>
            </a:extLst>
          </p:cNvPr>
          <p:cNvPicPr>
            <a:picLocks noChangeAspect="1"/>
          </p:cNvPicPr>
          <p:nvPr/>
        </p:nvPicPr>
        <p:blipFill rotWithShape="1">
          <a:blip r:embed="rId8">
            <a:extLst>
              <a:ext uri="{BEBA8EAE-BF5A-486C-A8C5-ECC9F3942E4B}">
                <a14:imgProps xmlns:a14="http://schemas.microsoft.com/office/drawing/2010/main">
                  <a14:imgLayer r:embed="rId9">
                    <a14:imgEffect>
                      <a14:sharpenSoften amount="25000"/>
                    </a14:imgEffect>
                    <a14:imgEffect>
                      <a14:brightnessContrast bright="15000" contrast="3000"/>
                    </a14:imgEffect>
                  </a14:imgLayer>
                </a14:imgProps>
              </a:ext>
            </a:extLst>
          </a:blip>
          <a:srcRect l="11071" t="15933" r="9386" b="13235"/>
          <a:stretch/>
        </p:blipFill>
        <p:spPr>
          <a:xfrm>
            <a:off x="-7351" y="1712890"/>
            <a:ext cx="7561261" cy="5100121"/>
          </a:xfrm>
          <a:prstGeom prst="rect">
            <a:avLst/>
          </a:prstGeom>
        </p:spPr>
      </p:pic>
      <p:pic>
        <p:nvPicPr>
          <p:cNvPr id="1026" name="Picture 2" descr="ber-e2 - Bennetts Auctioneers">
            <a:extLst>
              <a:ext uri="{FF2B5EF4-FFF2-40B4-BE49-F238E27FC236}">
                <a16:creationId xmlns:a16="http://schemas.microsoft.com/office/drawing/2014/main" id="{8DAAF5E3-55BC-DECF-FE94-7229B6F8DB1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6169" y="10063262"/>
            <a:ext cx="1393538" cy="49152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EE72066-AE4F-01C2-6D76-223E69C57483}"/>
              </a:ext>
            </a:extLst>
          </p:cNvPr>
          <p:cNvSpPr txBox="1"/>
          <p:nvPr/>
        </p:nvSpPr>
        <p:spPr>
          <a:xfrm>
            <a:off x="-7352" y="767352"/>
            <a:ext cx="5197537" cy="584775"/>
          </a:xfrm>
          <a:prstGeom prst="rect">
            <a:avLst/>
          </a:prstGeom>
          <a:noFill/>
          <a:ln>
            <a:noFill/>
          </a:ln>
          <a:effectLst/>
        </p:spPr>
        <p:txBody>
          <a:bodyPr wrap="square">
            <a:spAutoFit/>
          </a:bodyPr>
          <a:lstStyle/>
          <a:p>
            <a:pPr marL="0">
              <a:spcBef>
                <a:spcPts val="1200"/>
              </a:spcBef>
              <a:spcAft>
                <a:spcPts val="1200"/>
              </a:spcAft>
            </a:pPr>
            <a:r>
              <a:rPr lang="en-US" sz="1600" b="0" kern="1200" dirty="0">
                <a:solidFill>
                  <a:schemeClr val="bg1"/>
                </a:solidFill>
                <a:effectLst/>
                <a:latin typeface="+mn-lt"/>
                <a:ea typeface="+mn-ea"/>
                <a:cs typeface="+mn-cs"/>
              </a:rPr>
              <a:t>202 Harold’s Cross Road, Harold’s Cross, </a:t>
            </a:r>
            <a:r>
              <a:rPr lang="en-US" sz="1600" dirty="0">
                <a:solidFill>
                  <a:schemeClr val="bg1"/>
                </a:solidFill>
              </a:rPr>
              <a:t>Terenure, Dublin 6W, D6W V242</a:t>
            </a:r>
            <a:endParaRPr lang="en-US" sz="1600" b="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905004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17213D98-5BC7-4E16-8AE2-8E48E8EDAC89}"/>
              </a:ext>
            </a:extLst>
          </p:cNvPr>
          <p:cNvSpPr txBox="1"/>
          <p:nvPr/>
        </p:nvSpPr>
        <p:spPr>
          <a:xfrm>
            <a:off x="330244" y="696241"/>
            <a:ext cx="3355352" cy="3919022"/>
          </a:xfrm>
          <a:prstGeom prst="rect">
            <a:avLst/>
          </a:prstGeom>
          <a:noFill/>
          <a:ln>
            <a:noFill/>
          </a:ln>
          <a:effectLst/>
        </p:spPr>
        <p:txBody>
          <a:bodyPr vert="horz" wrap="square" lIns="0" tIns="0" rIns="0" bIns="0" rtlCol="0">
            <a:spAutoFit/>
          </a:bodyPr>
          <a:lstStyle/>
          <a:p>
            <a:pPr lvl="0" algn="just">
              <a:spcAft>
                <a:spcPts val="0"/>
              </a:spcAft>
              <a:tabLst>
                <a:tab pos="457200" algn="l"/>
              </a:tabLst>
            </a:pPr>
            <a:r>
              <a:rPr lang="en-US" sz="1200" dirty="0">
                <a:ea typeface="Calibri" panose="020F0502020204030204" pitchFamily="34" charset="0"/>
              </a:rPr>
              <a:t>202 Harold’s Cross Road extends to 63 sq m (679 sq ft) in total over ground and first floor.</a:t>
            </a:r>
          </a:p>
          <a:p>
            <a:pPr lvl="0" algn="just">
              <a:spcAft>
                <a:spcPts val="0"/>
              </a:spcAft>
              <a:tabLst>
                <a:tab pos="457200" algn="l"/>
              </a:tabLst>
            </a:pPr>
            <a:endParaRPr lang="en-US" sz="1200" dirty="0"/>
          </a:p>
          <a:p>
            <a:pPr algn="just">
              <a:spcAft>
                <a:spcPts val="800"/>
              </a:spcAft>
            </a:pPr>
            <a:r>
              <a:rPr lang="en-US" sz="1200" dirty="0"/>
              <a:t>The ground floor comprises a 38 sq m (407 sq ft) open plan retail unit with a 2.7 (29 sq ft) terrace to the rear. Commercial kitchen space, storage and a staff W/C are located on the first floor.</a:t>
            </a:r>
          </a:p>
          <a:p>
            <a:pPr algn="just">
              <a:spcAft>
                <a:spcPts val="800"/>
              </a:spcAft>
            </a:pPr>
            <a:r>
              <a:rPr lang="en-US" sz="1200" dirty="0"/>
              <a:t>Formerly a fine coffee and food operator, the unit benefits from a modern fit-out </a:t>
            </a:r>
            <a:r>
              <a:rPr lang="en-US" sz="1200" dirty="0">
                <a:ea typeface="Calibri" panose="020F0502020204030204" pitchFamily="34" charset="0"/>
              </a:rPr>
              <a:t>equipped with dual A/C, CCTV, extraction, and a large walk-in commercial refrigerator. </a:t>
            </a:r>
          </a:p>
          <a:p>
            <a:pPr algn="just">
              <a:spcAft>
                <a:spcPts val="800"/>
              </a:spcAft>
            </a:pPr>
            <a:r>
              <a:rPr lang="en-US" sz="1200" dirty="0"/>
              <a:t>The subject property benefits from a fully glazed shop front with multiple VELUX windows throughout providing substantial natural light internally. </a:t>
            </a:r>
          </a:p>
          <a:p>
            <a:pPr algn="just">
              <a:spcAft>
                <a:spcPts val="800"/>
              </a:spcAft>
            </a:pPr>
            <a:r>
              <a:rPr lang="en-US" sz="1200" dirty="0"/>
              <a:t>The area to the front of the property is also included, suitable for car parking or outdoor seating area. </a:t>
            </a:r>
          </a:p>
          <a:p>
            <a:pPr algn="just">
              <a:spcAft>
                <a:spcPts val="800"/>
              </a:spcAft>
            </a:pPr>
            <a:endParaRPr lang="en-US" sz="1200" dirty="0"/>
          </a:p>
        </p:txBody>
      </p:sp>
      <p:sp>
        <p:nvSpPr>
          <p:cNvPr id="15" name="Rectangle 14">
            <a:extLst>
              <a:ext uri="{FF2B5EF4-FFF2-40B4-BE49-F238E27FC236}">
                <a16:creationId xmlns:a16="http://schemas.microsoft.com/office/drawing/2014/main" id="{7D8EB072-4DD3-423B-AD01-6AF04CF7FEDB}"/>
              </a:ext>
            </a:extLst>
          </p:cNvPr>
          <p:cNvSpPr/>
          <p:nvPr/>
        </p:nvSpPr>
        <p:spPr>
          <a:xfrm>
            <a:off x="0" y="9994006"/>
            <a:ext cx="7561263" cy="699394"/>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2" name="TextBox 1">
            <a:extLst>
              <a:ext uri="{FF2B5EF4-FFF2-40B4-BE49-F238E27FC236}">
                <a16:creationId xmlns:a16="http://schemas.microsoft.com/office/drawing/2014/main" id="{72F0C7B3-D510-2320-5E3A-000E6A538140}"/>
              </a:ext>
            </a:extLst>
          </p:cNvPr>
          <p:cNvSpPr txBox="1"/>
          <p:nvPr/>
        </p:nvSpPr>
        <p:spPr>
          <a:xfrm>
            <a:off x="335646" y="402602"/>
            <a:ext cx="2103188" cy="249812"/>
          </a:xfrm>
          <a:prstGeom prst="rect">
            <a:avLst/>
          </a:prstGeom>
          <a:noFill/>
          <a:ln>
            <a:noFill/>
          </a:ln>
          <a:effectLst/>
        </p:spPr>
        <p:txBody>
          <a:bodyPr vert="horz" wrap="square" lIns="0" tIns="0" rIns="0" bIns="0" rtlCol="0">
            <a:spAutoFit/>
          </a:bodyPr>
          <a:lstStyle/>
          <a:p>
            <a:pPr>
              <a:lnSpc>
                <a:spcPct val="110000"/>
              </a:lnSpc>
            </a:pPr>
            <a:r>
              <a:rPr lang="en-IE" sz="1600" b="1" dirty="0">
                <a:solidFill>
                  <a:schemeClr val="tx2"/>
                </a:solidFill>
              </a:rPr>
              <a:t>Description</a:t>
            </a:r>
          </a:p>
        </p:txBody>
      </p:sp>
      <p:sp>
        <p:nvSpPr>
          <p:cNvPr id="3" name="Rectangle 2">
            <a:extLst>
              <a:ext uri="{FF2B5EF4-FFF2-40B4-BE49-F238E27FC236}">
                <a16:creationId xmlns:a16="http://schemas.microsoft.com/office/drawing/2014/main" id="{B0013904-E168-BE9A-B5F7-AEE990139A8D}"/>
              </a:ext>
            </a:extLst>
          </p:cNvPr>
          <p:cNvSpPr/>
          <p:nvPr/>
        </p:nvSpPr>
        <p:spPr>
          <a:xfrm>
            <a:off x="4076389" y="402372"/>
            <a:ext cx="3304265" cy="338554"/>
          </a:xfrm>
          <a:prstGeom prst="rect">
            <a:avLst/>
          </a:prstGeom>
        </p:spPr>
        <p:txBody>
          <a:bodyPr wrap="square">
            <a:spAutoFit/>
          </a:bodyPr>
          <a:lstStyle/>
          <a:p>
            <a:r>
              <a:rPr lang="en-GB" sz="1600" b="1" dirty="0">
                <a:solidFill>
                  <a:schemeClr val="tx2"/>
                </a:solidFill>
              </a:rPr>
              <a:t>Schedule of Accommodation </a:t>
            </a:r>
            <a:endParaRPr lang="en-US" sz="1600" b="1" dirty="0">
              <a:solidFill>
                <a:schemeClr val="tx2"/>
              </a:solidFill>
            </a:endParaRPr>
          </a:p>
        </p:txBody>
      </p:sp>
      <p:graphicFrame>
        <p:nvGraphicFramePr>
          <p:cNvPr id="4" name="Table 3">
            <a:extLst>
              <a:ext uri="{FF2B5EF4-FFF2-40B4-BE49-F238E27FC236}">
                <a16:creationId xmlns:a16="http://schemas.microsoft.com/office/drawing/2014/main" id="{FC15F4E2-343F-90A5-EFF7-91F44D0E9505}"/>
              </a:ext>
            </a:extLst>
          </p:cNvPr>
          <p:cNvGraphicFramePr>
            <a:graphicFrameLocks noGrp="1"/>
          </p:cNvGraphicFramePr>
          <p:nvPr>
            <p:extLst>
              <p:ext uri="{D42A27DB-BD31-4B8C-83A1-F6EECF244321}">
                <p14:modId xmlns:p14="http://schemas.microsoft.com/office/powerpoint/2010/main" val="2133967147"/>
              </p:ext>
            </p:extLst>
          </p:nvPr>
        </p:nvGraphicFramePr>
        <p:xfrm>
          <a:off x="4146263" y="943378"/>
          <a:ext cx="3084756" cy="2154436"/>
        </p:xfrm>
        <a:graphic>
          <a:graphicData uri="http://schemas.openxmlformats.org/drawingml/2006/table">
            <a:tbl>
              <a:tblPr firstRow="1" firstCol="1" bandRow="1">
                <a:tableStyleId>{5C22544A-7EE6-4342-B048-85BDC9FD1C3A}</a:tableStyleId>
              </a:tblPr>
              <a:tblGrid>
                <a:gridCol w="792421">
                  <a:extLst>
                    <a:ext uri="{9D8B030D-6E8A-4147-A177-3AD203B41FA5}">
                      <a16:colId xmlns:a16="http://schemas.microsoft.com/office/drawing/2014/main" val="20000"/>
                    </a:ext>
                  </a:extLst>
                </a:gridCol>
                <a:gridCol w="1120236">
                  <a:extLst>
                    <a:ext uri="{9D8B030D-6E8A-4147-A177-3AD203B41FA5}">
                      <a16:colId xmlns:a16="http://schemas.microsoft.com/office/drawing/2014/main" val="864880977"/>
                    </a:ext>
                  </a:extLst>
                </a:gridCol>
                <a:gridCol w="587650">
                  <a:extLst>
                    <a:ext uri="{9D8B030D-6E8A-4147-A177-3AD203B41FA5}">
                      <a16:colId xmlns:a16="http://schemas.microsoft.com/office/drawing/2014/main" val="20001"/>
                    </a:ext>
                  </a:extLst>
                </a:gridCol>
                <a:gridCol w="584449">
                  <a:extLst>
                    <a:ext uri="{9D8B030D-6E8A-4147-A177-3AD203B41FA5}">
                      <a16:colId xmlns:a16="http://schemas.microsoft.com/office/drawing/2014/main" val="20002"/>
                    </a:ext>
                  </a:extLst>
                </a:gridCol>
              </a:tblGrid>
              <a:tr h="406168">
                <a:tc>
                  <a:txBody>
                    <a:bodyPr/>
                    <a:lstStyle/>
                    <a:p>
                      <a:pPr algn="ctr">
                        <a:lnSpc>
                          <a:spcPct val="250000"/>
                        </a:lnSpc>
                        <a:spcAft>
                          <a:spcPts val="0"/>
                        </a:spcAft>
                      </a:pPr>
                      <a:r>
                        <a:rPr lang="en-US" sz="12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Floo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250000"/>
                        </a:lnSpc>
                        <a:spcAft>
                          <a:spcPts val="0"/>
                        </a:spcAft>
                      </a:pPr>
                      <a:r>
                        <a:rPr lang="en-US" sz="12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Us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250000"/>
                        </a:lnSpc>
                        <a:spcAft>
                          <a:spcPts val="0"/>
                        </a:spcAft>
                      </a:pPr>
                      <a:r>
                        <a:rPr lang="en-IE" sz="1200" dirty="0">
                          <a:solidFill>
                            <a:schemeClr val="tx1"/>
                          </a:solidFill>
                          <a:effectLst/>
                        </a:rPr>
                        <a:t>Sq. M</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250000"/>
                        </a:lnSpc>
                        <a:spcAft>
                          <a:spcPts val="0"/>
                        </a:spcAft>
                      </a:pPr>
                      <a:r>
                        <a:rPr lang="en-IE" sz="1200" dirty="0">
                          <a:solidFill>
                            <a:schemeClr val="tx1"/>
                          </a:solidFill>
                          <a:effectLst/>
                        </a:rPr>
                        <a:t>Sq. Ft</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50470">
                <a:tc rowSpan="2">
                  <a:txBody>
                    <a:bodyPr/>
                    <a:lstStyle/>
                    <a:p>
                      <a:pPr>
                        <a:lnSpc>
                          <a:spcPct val="150000"/>
                        </a:lnSpc>
                        <a:spcAft>
                          <a:spcPts val="0"/>
                        </a:spcAft>
                      </a:pPr>
                      <a:r>
                        <a:rPr lang="en-IE" sz="1200" b="0" dirty="0">
                          <a:solidFill>
                            <a:schemeClr val="tx1"/>
                          </a:solidFill>
                          <a:effectLst/>
                        </a:rPr>
                        <a:t>Groun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spcAft>
                          <a:spcPts val="0"/>
                        </a:spcAft>
                      </a:pPr>
                      <a:r>
                        <a:rPr lang="en-IE" sz="1200" b="0" dirty="0">
                          <a:solidFill>
                            <a:schemeClr val="tx1"/>
                          </a:solidFill>
                          <a:effectLst/>
                        </a:rPr>
                        <a:t>Retai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37.8</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40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580797974"/>
                  </a:ext>
                </a:extLst>
              </a:tr>
              <a:tr h="287602">
                <a:tc vMerge="1">
                  <a:txBody>
                    <a:bodyPr/>
                    <a:lstStyle/>
                    <a:p>
                      <a:pPr>
                        <a:lnSpc>
                          <a:spcPct val="150000"/>
                        </a:lnSpc>
                        <a:spcAft>
                          <a:spcPts val="0"/>
                        </a:spcAft>
                      </a:pPr>
                      <a:endParaRPr lang="en-IE" sz="1200" b="0" dirty="0">
                        <a:solidFill>
                          <a:schemeClr val="tx1"/>
                        </a:solidFill>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spcAft>
                          <a:spcPts val="0"/>
                        </a:spcAft>
                      </a:pPr>
                      <a:r>
                        <a:rPr lang="en-IE" sz="1200" b="0" dirty="0">
                          <a:solidFill>
                            <a:schemeClr val="tx1"/>
                          </a:solidFill>
                          <a:effectLst/>
                        </a:rPr>
                        <a:t>Terrac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2.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2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89287985"/>
                  </a:ext>
                </a:extLst>
              </a:tr>
              <a:tr h="255721">
                <a:tc rowSpan="3">
                  <a:txBody>
                    <a:bodyPr/>
                    <a:lstStyle/>
                    <a:p>
                      <a:pPr>
                        <a:lnSpc>
                          <a:spcPct val="150000"/>
                        </a:lnSpc>
                        <a:spcAft>
                          <a:spcPts val="0"/>
                        </a:spcAft>
                      </a:pPr>
                      <a:r>
                        <a:rPr lang="en-IE" sz="1200" b="0" dirty="0">
                          <a:solidFill>
                            <a:schemeClr val="tx1"/>
                          </a:solidFill>
                          <a:effectLst/>
                        </a:rPr>
                        <a:t>Firs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spcAft>
                          <a:spcPts val="0"/>
                        </a:spcAft>
                      </a:pPr>
                      <a:r>
                        <a:rPr lang="en-IE" sz="1200" b="0" dirty="0">
                          <a:solidFill>
                            <a:schemeClr val="tx1"/>
                          </a:solidFill>
                          <a:effectLst/>
                        </a:rPr>
                        <a:t>Stora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7.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7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4636813"/>
                  </a:ext>
                </a:extLst>
              </a:tr>
              <a:tr h="299377">
                <a:tc vMerge="1">
                  <a:txBody>
                    <a:bodyPr/>
                    <a:lstStyle/>
                    <a:p>
                      <a:pPr>
                        <a:lnSpc>
                          <a:spcPct val="150000"/>
                        </a:lnSpc>
                        <a:spcAft>
                          <a:spcPts val="0"/>
                        </a:spcAft>
                      </a:pPr>
                      <a:endParaRPr lang="en-IE" sz="1200" b="0" dirty="0">
                        <a:solidFill>
                          <a:schemeClr val="tx1"/>
                        </a:solidFill>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spcAft>
                          <a:spcPts val="0"/>
                        </a:spcAft>
                      </a:pPr>
                      <a:r>
                        <a:rPr lang="en-IE" sz="1200" b="0" dirty="0">
                          <a:solidFill>
                            <a:schemeClr val="tx1"/>
                          </a:solidFill>
                          <a:effectLst/>
                        </a:rPr>
                        <a:t>Kitche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11.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12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99449659"/>
                  </a:ext>
                </a:extLst>
              </a:tr>
              <a:tr h="299377">
                <a:tc vMerge="1">
                  <a:txBody>
                    <a:bodyPr/>
                    <a:lstStyle/>
                    <a:p>
                      <a:pPr>
                        <a:lnSpc>
                          <a:spcPct val="150000"/>
                        </a:lnSpc>
                        <a:spcAft>
                          <a:spcPts val="0"/>
                        </a:spcAft>
                      </a:pPr>
                      <a:endParaRPr lang="en-IE" sz="1200" b="0" dirty="0">
                        <a:solidFill>
                          <a:schemeClr val="tx1"/>
                        </a:solidFill>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50000"/>
                        </a:lnSpc>
                        <a:spcAft>
                          <a:spcPts val="0"/>
                        </a:spcAft>
                      </a:pPr>
                      <a:r>
                        <a:rPr lang="en-IE" sz="1200" b="0" dirty="0">
                          <a:solidFill>
                            <a:schemeClr val="tx1"/>
                          </a:solidFill>
                          <a:effectLst/>
                        </a:rPr>
                        <a:t>W/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3.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0" kern="1200" dirty="0">
                          <a:solidFill>
                            <a:schemeClr val="tx1"/>
                          </a:solidFill>
                          <a:effectLst/>
                          <a:latin typeface="+mn-lt"/>
                          <a:ea typeface="+mn-ea"/>
                          <a:cs typeface="+mn-cs"/>
                        </a:rPr>
                        <a:t>3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61035215"/>
                  </a:ext>
                </a:extLst>
              </a:tr>
              <a:tr h="255721">
                <a:tc gridSpan="2">
                  <a:txBody>
                    <a:bodyPr/>
                    <a:lstStyle/>
                    <a:p>
                      <a:pPr algn="ctr">
                        <a:lnSpc>
                          <a:spcPct val="150000"/>
                        </a:lnSpc>
                        <a:spcAft>
                          <a:spcPts val="0"/>
                        </a:spcAft>
                      </a:pPr>
                      <a:r>
                        <a:rPr lang="en-IE" sz="1200" b="1" dirty="0">
                          <a:solidFill>
                            <a:schemeClr val="tx1"/>
                          </a:solidFill>
                          <a:effectLst/>
                        </a:rPr>
                        <a:t>Total (NIA)</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nSpc>
                          <a:spcPct val="150000"/>
                        </a:lnSpc>
                        <a:spcAft>
                          <a:spcPts val="0"/>
                        </a:spcAft>
                      </a:pPr>
                      <a:r>
                        <a:rPr lang="en-IE" sz="1200" b="0" dirty="0">
                          <a:solidFill>
                            <a:schemeClr val="tx1"/>
                          </a:solidFill>
                          <a:effectLst/>
                        </a:rPr>
                        <a:t>Total (NIA)</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1" kern="1200" dirty="0">
                          <a:solidFill>
                            <a:schemeClr val="tx1"/>
                          </a:solidFill>
                          <a:effectLst/>
                          <a:latin typeface="+mn-lt"/>
                          <a:ea typeface="+mn-ea"/>
                          <a:cs typeface="+mn-cs"/>
                        </a:rPr>
                        <a:t>6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95690" rtl="0" eaLnBrk="1" latinLnBrk="0" hangingPunct="1">
                        <a:lnSpc>
                          <a:spcPct val="150000"/>
                        </a:lnSpc>
                        <a:spcAft>
                          <a:spcPts val="0"/>
                        </a:spcAft>
                      </a:pPr>
                      <a:r>
                        <a:rPr lang="en-US" sz="1200" b="1" kern="1200" dirty="0">
                          <a:solidFill>
                            <a:schemeClr val="tx1"/>
                          </a:solidFill>
                          <a:effectLst/>
                          <a:latin typeface="+mn-lt"/>
                          <a:ea typeface="+mn-ea"/>
                          <a:cs typeface="+mn-cs"/>
                        </a:rPr>
                        <a:t>67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49619811"/>
                  </a:ext>
                </a:extLst>
              </a:tr>
            </a:tbl>
          </a:graphicData>
        </a:graphic>
      </p:graphicFrame>
      <p:sp>
        <p:nvSpPr>
          <p:cNvPr id="5" name="TextBox 4">
            <a:extLst>
              <a:ext uri="{FF2B5EF4-FFF2-40B4-BE49-F238E27FC236}">
                <a16:creationId xmlns:a16="http://schemas.microsoft.com/office/drawing/2014/main" id="{948E71B3-DA4D-333A-C846-4EF74F254394}"/>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sp>
        <p:nvSpPr>
          <p:cNvPr id="16" name="TextBox 15">
            <a:extLst>
              <a:ext uri="{FF2B5EF4-FFF2-40B4-BE49-F238E27FC236}">
                <a16:creationId xmlns:a16="http://schemas.microsoft.com/office/drawing/2014/main" id="{6F97F54B-83DE-447F-B09D-7F31B8D319A4}"/>
              </a:ext>
            </a:extLst>
          </p:cNvPr>
          <p:cNvSpPr txBox="1"/>
          <p:nvPr/>
        </p:nvSpPr>
        <p:spPr>
          <a:xfrm>
            <a:off x="4076389" y="3278234"/>
            <a:ext cx="3304265" cy="461665"/>
          </a:xfrm>
          <a:prstGeom prst="rect">
            <a:avLst/>
          </a:prstGeom>
          <a:noFill/>
          <a:ln>
            <a:noFill/>
          </a:ln>
          <a:effectLst/>
        </p:spPr>
        <p:txBody>
          <a:bodyPr wrap="square">
            <a:spAutoFit/>
          </a:bodyPr>
          <a:lstStyle/>
          <a:p>
            <a:r>
              <a:rPr lang="en-US" sz="1200" i="1" dirty="0"/>
              <a:t>Any tenant will need to satisfy themselves as to the exact area of the subject property </a:t>
            </a:r>
            <a:endParaRPr lang="en-IE" sz="1200" i="1" dirty="0"/>
          </a:p>
        </p:txBody>
      </p:sp>
      <p:pic>
        <p:nvPicPr>
          <p:cNvPr id="10" name="Picture 9">
            <a:extLst>
              <a:ext uri="{FF2B5EF4-FFF2-40B4-BE49-F238E27FC236}">
                <a16:creationId xmlns:a16="http://schemas.microsoft.com/office/drawing/2014/main" id="{3A960780-A289-4189-F3DE-71BC029A75A7}"/>
              </a:ext>
            </a:extLst>
          </p:cNvPr>
          <p:cNvPicPr>
            <a:picLocks noChangeAspect="1"/>
          </p:cNvPicPr>
          <p:nvPr/>
        </p:nvPicPr>
        <p:blipFill>
          <a:blip r:embed="rId3"/>
          <a:stretch>
            <a:fillRect/>
          </a:stretch>
        </p:blipFill>
        <p:spPr>
          <a:xfrm>
            <a:off x="3932045" y="4393713"/>
            <a:ext cx="3355353" cy="2516514"/>
          </a:xfrm>
          <a:prstGeom prst="rect">
            <a:avLst/>
          </a:prstGeom>
        </p:spPr>
      </p:pic>
      <p:pic>
        <p:nvPicPr>
          <p:cNvPr id="28" name="Picture 27">
            <a:extLst>
              <a:ext uri="{FF2B5EF4-FFF2-40B4-BE49-F238E27FC236}">
                <a16:creationId xmlns:a16="http://schemas.microsoft.com/office/drawing/2014/main" id="{51B407D1-8974-E0C4-6B0F-4AF7FB1F4B6D}"/>
              </a:ext>
            </a:extLst>
          </p:cNvPr>
          <p:cNvPicPr>
            <a:picLocks noChangeAspect="1"/>
          </p:cNvPicPr>
          <p:nvPr/>
        </p:nvPicPr>
        <p:blipFill>
          <a:blip r:embed="rId4"/>
          <a:stretch>
            <a:fillRect/>
          </a:stretch>
        </p:blipFill>
        <p:spPr>
          <a:xfrm>
            <a:off x="3915547" y="7196718"/>
            <a:ext cx="3371851" cy="2528889"/>
          </a:xfrm>
          <a:prstGeom prst="rect">
            <a:avLst/>
          </a:prstGeom>
        </p:spPr>
      </p:pic>
      <p:pic>
        <p:nvPicPr>
          <p:cNvPr id="30" name="Picture 29">
            <a:extLst>
              <a:ext uri="{FF2B5EF4-FFF2-40B4-BE49-F238E27FC236}">
                <a16:creationId xmlns:a16="http://schemas.microsoft.com/office/drawing/2014/main" id="{4B546882-A04F-3C77-51F4-6B14BB7574DD}"/>
              </a:ext>
            </a:extLst>
          </p:cNvPr>
          <p:cNvPicPr>
            <a:picLocks noChangeAspect="1"/>
          </p:cNvPicPr>
          <p:nvPr/>
        </p:nvPicPr>
        <p:blipFill>
          <a:blip r:embed="rId5"/>
          <a:stretch>
            <a:fillRect/>
          </a:stretch>
        </p:blipFill>
        <p:spPr>
          <a:xfrm>
            <a:off x="315053" y="4395419"/>
            <a:ext cx="3345453" cy="2509090"/>
          </a:xfrm>
          <a:prstGeom prst="rect">
            <a:avLst/>
          </a:prstGeom>
        </p:spPr>
      </p:pic>
      <p:pic>
        <p:nvPicPr>
          <p:cNvPr id="32" name="Picture 31">
            <a:extLst>
              <a:ext uri="{FF2B5EF4-FFF2-40B4-BE49-F238E27FC236}">
                <a16:creationId xmlns:a16="http://schemas.microsoft.com/office/drawing/2014/main" id="{D713B8E0-53AE-B63F-3D46-397C8F3C2433}"/>
              </a:ext>
            </a:extLst>
          </p:cNvPr>
          <p:cNvPicPr>
            <a:picLocks noChangeAspect="1"/>
          </p:cNvPicPr>
          <p:nvPr/>
        </p:nvPicPr>
        <p:blipFill>
          <a:blip r:embed="rId6"/>
          <a:stretch>
            <a:fillRect/>
          </a:stretch>
        </p:blipFill>
        <p:spPr>
          <a:xfrm>
            <a:off x="315053" y="7194713"/>
            <a:ext cx="3345452" cy="2509088"/>
          </a:xfrm>
          <a:prstGeom prst="rect">
            <a:avLst/>
          </a:prstGeom>
        </p:spPr>
      </p:pic>
    </p:spTree>
    <p:extLst>
      <p:ext uri="{BB962C8B-B14F-4D97-AF65-F5344CB8AC3E}">
        <p14:creationId xmlns:p14="http://schemas.microsoft.com/office/powerpoint/2010/main" val="2137172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44"/>
          <p:cNvSpPr>
            <a:spLocks/>
          </p:cNvSpPr>
          <p:nvPr/>
        </p:nvSpPr>
        <p:spPr bwMode="auto">
          <a:xfrm>
            <a:off x="0" y="9424158"/>
            <a:ext cx="5657850" cy="1269242"/>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rcRect/>
          <a:stretch/>
        </p:blipFill>
        <p:spPr>
          <a:xfrm>
            <a:off x="5764085" y="9572871"/>
            <a:ext cx="1501678" cy="831865"/>
          </a:xfrm>
          <a:prstGeom prst="rect">
            <a:avLst/>
          </a:prstGeom>
        </p:spPr>
      </p:pic>
      <p:sp>
        <p:nvSpPr>
          <p:cNvPr id="41" name="TextBox 40"/>
          <p:cNvSpPr txBox="1"/>
          <p:nvPr/>
        </p:nvSpPr>
        <p:spPr>
          <a:xfrm>
            <a:off x="258158" y="9620472"/>
            <a:ext cx="4780317" cy="902235"/>
          </a:xfrm>
          <a:prstGeom prst="rect">
            <a:avLst/>
          </a:prstGeom>
          <a:noFill/>
          <a:ln>
            <a:noFill/>
          </a:ln>
          <a:effectLst/>
        </p:spPr>
        <p:txBody>
          <a:bodyPr vert="horz" wrap="square" lIns="0" tIns="0" rIns="0" bIns="0" rtlCol="0">
            <a:spAutoFit/>
          </a:bodyPr>
          <a:lstStyle/>
          <a:p>
            <a:pPr>
              <a:lnSpc>
                <a:spcPct val="110000"/>
              </a:lnSpc>
            </a:pPr>
            <a:r>
              <a:rPr lang="en-GB" sz="900" dirty="0">
                <a:solidFill>
                  <a:schemeClr val="bg1"/>
                </a:solidFill>
              </a:rPr>
              <a:t>A full copy of our general brochure conditions can be viewed on our website or can be requested from your local Cushman Wakefield office. We strongly recommend that you familiarise yourself with these general conditions. While care has been taken to ensure that information contained in Cushman Wakefield publications is correct at the time of publication, changes in circumstances after the time of publication may impact on the accuracy of this information. PSRA Registration Number: 002222.    Subject to Contract/Contract Denied.</a:t>
            </a:r>
          </a:p>
        </p:txBody>
      </p:sp>
      <p:sp>
        <p:nvSpPr>
          <p:cNvPr id="27" name="Rectangle 26">
            <a:extLst>
              <a:ext uri="{FF2B5EF4-FFF2-40B4-BE49-F238E27FC236}">
                <a16:creationId xmlns:a16="http://schemas.microsoft.com/office/drawing/2014/main" id="{2518B67D-58A4-4586-A478-EF551C6D3D2B}"/>
              </a:ext>
            </a:extLst>
          </p:cNvPr>
          <p:cNvSpPr/>
          <p:nvPr/>
        </p:nvSpPr>
        <p:spPr>
          <a:xfrm>
            <a:off x="3743930" y="198222"/>
            <a:ext cx="1070614" cy="338554"/>
          </a:xfrm>
          <a:prstGeom prst="rect">
            <a:avLst/>
          </a:prstGeom>
        </p:spPr>
        <p:txBody>
          <a:bodyPr wrap="none">
            <a:spAutoFit/>
          </a:bodyPr>
          <a:lstStyle/>
          <a:p>
            <a:r>
              <a:rPr lang="en-GB" sz="1600" b="1" dirty="0">
                <a:solidFill>
                  <a:schemeClr val="tx2"/>
                </a:solidFill>
              </a:rPr>
              <a:t>Viewings</a:t>
            </a:r>
            <a:endParaRPr lang="en-US" sz="1600" b="1" dirty="0">
              <a:solidFill>
                <a:schemeClr val="tx2"/>
              </a:solidFill>
            </a:endParaRPr>
          </a:p>
        </p:txBody>
      </p:sp>
      <p:sp>
        <p:nvSpPr>
          <p:cNvPr id="28" name="TextBox 27">
            <a:extLst>
              <a:ext uri="{FF2B5EF4-FFF2-40B4-BE49-F238E27FC236}">
                <a16:creationId xmlns:a16="http://schemas.microsoft.com/office/drawing/2014/main" id="{1E1ABCBF-4CBA-4166-B0F0-E8C3C1095E59}"/>
              </a:ext>
            </a:extLst>
          </p:cNvPr>
          <p:cNvSpPr txBox="1"/>
          <p:nvPr/>
        </p:nvSpPr>
        <p:spPr>
          <a:xfrm>
            <a:off x="3835112" y="572953"/>
            <a:ext cx="2805459" cy="390556"/>
          </a:xfrm>
          <a:prstGeom prst="rect">
            <a:avLst/>
          </a:prstGeom>
          <a:noFill/>
          <a:ln>
            <a:noFill/>
          </a:ln>
          <a:effectLst/>
        </p:spPr>
        <p:txBody>
          <a:bodyPr vert="horz" wrap="square" lIns="0" tIns="0" rIns="0" bIns="0" rtlCol="0">
            <a:spAutoFit/>
          </a:bodyPr>
          <a:lstStyle/>
          <a:p>
            <a:pPr algn="just">
              <a:lnSpc>
                <a:spcPct val="110000"/>
              </a:lnSpc>
            </a:pPr>
            <a:r>
              <a:rPr lang="en-GB" sz="1200" dirty="0"/>
              <a:t>Strictly by appointment through sole selling agent.</a:t>
            </a:r>
            <a:endParaRPr lang="en-US" sz="1200" dirty="0"/>
          </a:p>
        </p:txBody>
      </p:sp>
      <p:sp>
        <p:nvSpPr>
          <p:cNvPr id="4" name="TextBox 3">
            <a:extLst>
              <a:ext uri="{FF2B5EF4-FFF2-40B4-BE49-F238E27FC236}">
                <a16:creationId xmlns:a16="http://schemas.microsoft.com/office/drawing/2014/main" id="{8C507EED-7194-B531-5A0A-CFA424F0D9EF}"/>
              </a:ext>
            </a:extLst>
          </p:cNvPr>
          <p:cNvSpPr txBox="1"/>
          <p:nvPr/>
        </p:nvSpPr>
        <p:spPr>
          <a:xfrm>
            <a:off x="359361" y="572953"/>
            <a:ext cx="3037611" cy="4247317"/>
          </a:xfrm>
          <a:prstGeom prst="rect">
            <a:avLst/>
          </a:prstGeom>
          <a:noFill/>
          <a:ln>
            <a:noFill/>
          </a:ln>
          <a:effectLst/>
        </p:spPr>
        <p:txBody>
          <a:bodyPr vert="horz" wrap="square" lIns="0" tIns="0" rIns="0" bIns="0" rtlCol="0">
            <a:spAutoFit/>
          </a:bodyPr>
          <a:lstStyle/>
          <a:p>
            <a:pPr algn="just"/>
            <a:r>
              <a:rPr lang="en-US" sz="1200" dirty="0">
                <a:effectLst/>
              </a:rPr>
              <a:t>Harold’s Cross is an attractive urban village located on the south side of Dublin, in close proximity to the Grand Canal. </a:t>
            </a:r>
          </a:p>
          <a:p>
            <a:pPr algn="just"/>
            <a:endParaRPr lang="en-US" sz="1200" dirty="0"/>
          </a:p>
          <a:p>
            <a:pPr algn="just"/>
            <a:r>
              <a:rPr lang="en-US" sz="1200" dirty="0"/>
              <a:t>Harold’s Cross Road is the converging point of three densely populated residential areas, namely Harold’s Cross, Terenure and Rathmines. The surrounding area is predominantly characterized by affluent residential neighborhoods coupled with a variety of local shops, </a:t>
            </a:r>
            <a:r>
              <a:rPr lang="en-US" sz="1200" dirty="0">
                <a:effectLst/>
              </a:rPr>
              <a:t>cafés and family run businesses providing a strong sense of community. </a:t>
            </a:r>
          </a:p>
          <a:p>
            <a:pPr algn="just"/>
            <a:endParaRPr lang="en-US" sz="1200" dirty="0">
              <a:effectLst/>
            </a:endParaRPr>
          </a:p>
          <a:p>
            <a:pPr algn="just"/>
            <a:r>
              <a:rPr lang="en-US" sz="1200" dirty="0"/>
              <a:t>This retail unit occupies a prominent trading position along Harold’s Cross Road, benefitting from a high level of passing traffic through the village.</a:t>
            </a:r>
          </a:p>
          <a:p>
            <a:pPr algn="just"/>
            <a:endParaRPr lang="en-US" sz="1200" dirty="0">
              <a:effectLst/>
            </a:endParaRPr>
          </a:p>
          <a:p>
            <a:pPr algn="just" rtl="0"/>
            <a:r>
              <a:rPr lang="en-US" sz="1200" b="0" i="0" dirty="0">
                <a:effectLst/>
              </a:rPr>
              <a:t>There is easy access by car and public transport to the City </a:t>
            </a:r>
            <a:r>
              <a:rPr lang="en-US" sz="1200" dirty="0"/>
              <a:t>C</a:t>
            </a:r>
            <a:r>
              <a:rPr lang="en-US" sz="1200" b="0" i="0" dirty="0">
                <a:effectLst/>
              </a:rPr>
              <a:t>entre and suburbs with several Dublin bus links available including 9, 16, 18, 49, 54a and 8 buses.</a:t>
            </a:r>
            <a:endParaRPr lang="en-US" sz="1000" dirty="0">
              <a:highlight>
                <a:srgbClr val="FFFF00"/>
              </a:highlight>
            </a:endParaRPr>
          </a:p>
        </p:txBody>
      </p:sp>
      <p:sp>
        <p:nvSpPr>
          <p:cNvPr id="5" name="Rectangle 4">
            <a:extLst>
              <a:ext uri="{FF2B5EF4-FFF2-40B4-BE49-F238E27FC236}">
                <a16:creationId xmlns:a16="http://schemas.microsoft.com/office/drawing/2014/main" id="{BFCD7B68-8820-9111-4157-5D315A1B440C}"/>
              </a:ext>
            </a:extLst>
          </p:cNvPr>
          <p:cNvSpPr/>
          <p:nvPr/>
        </p:nvSpPr>
        <p:spPr>
          <a:xfrm>
            <a:off x="258158" y="198222"/>
            <a:ext cx="1033728" cy="338554"/>
          </a:xfrm>
          <a:prstGeom prst="rect">
            <a:avLst/>
          </a:prstGeom>
        </p:spPr>
        <p:txBody>
          <a:bodyPr wrap="square">
            <a:spAutoFit/>
          </a:bodyPr>
          <a:lstStyle/>
          <a:p>
            <a:r>
              <a:rPr lang="en-US" sz="1600" b="1" dirty="0">
                <a:solidFill>
                  <a:schemeClr val="tx2"/>
                </a:solidFill>
              </a:rPr>
              <a:t>Location</a:t>
            </a:r>
          </a:p>
        </p:txBody>
      </p:sp>
      <p:grpSp>
        <p:nvGrpSpPr>
          <p:cNvPr id="14" name="Group 13">
            <a:extLst>
              <a:ext uri="{FF2B5EF4-FFF2-40B4-BE49-F238E27FC236}">
                <a16:creationId xmlns:a16="http://schemas.microsoft.com/office/drawing/2014/main" id="{5D022188-4AE3-D9AA-ED0D-7C86FF0B4256}"/>
              </a:ext>
            </a:extLst>
          </p:cNvPr>
          <p:cNvGrpSpPr/>
          <p:nvPr/>
        </p:nvGrpSpPr>
        <p:grpSpPr>
          <a:xfrm>
            <a:off x="3743930" y="3384207"/>
            <a:ext cx="4023081" cy="589455"/>
            <a:chOff x="-26347" y="-125780"/>
            <a:chExt cx="4023081" cy="589455"/>
          </a:xfrm>
        </p:grpSpPr>
        <p:sp>
          <p:nvSpPr>
            <p:cNvPr id="15" name="Rectangle 14">
              <a:extLst>
                <a:ext uri="{FF2B5EF4-FFF2-40B4-BE49-F238E27FC236}">
                  <a16:creationId xmlns:a16="http://schemas.microsoft.com/office/drawing/2014/main" id="{B5D8F1D8-7D67-D9CE-7CA2-9884899A382E}"/>
                </a:ext>
              </a:extLst>
            </p:cNvPr>
            <p:cNvSpPr/>
            <p:nvPr/>
          </p:nvSpPr>
          <p:spPr>
            <a:xfrm>
              <a:off x="-26347" y="-125780"/>
              <a:ext cx="1346844" cy="338554"/>
            </a:xfrm>
            <a:prstGeom prst="rect">
              <a:avLst/>
            </a:prstGeom>
          </p:spPr>
          <p:txBody>
            <a:bodyPr wrap="none">
              <a:spAutoFit/>
            </a:bodyPr>
            <a:lstStyle/>
            <a:p>
              <a:r>
                <a:rPr lang="en-GB" sz="1600" b="1" dirty="0">
                  <a:solidFill>
                    <a:schemeClr val="tx2"/>
                  </a:solidFill>
                </a:rPr>
                <a:t>BER Details</a:t>
              </a:r>
              <a:endParaRPr lang="en-US" sz="1600" b="1" dirty="0">
                <a:solidFill>
                  <a:schemeClr val="tx2"/>
                </a:solidFill>
              </a:endParaRPr>
            </a:p>
          </p:txBody>
        </p:sp>
        <p:sp>
          <p:nvSpPr>
            <p:cNvPr id="16" name="TextBox 15">
              <a:extLst>
                <a:ext uri="{FF2B5EF4-FFF2-40B4-BE49-F238E27FC236}">
                  <a16:creationId xmlns:a16="http://schemas.microsoft.com/office/drawing/2014/main" id="{AF590FA9-97EB-F38A-50E4-1D52AAA8509D}"/>
                </a:ext>
              </a:extLst>
            </p:cNvPr>
            <p:cNvSpPr txBox="1"/>
            <p:nvPr/>
          </p:nvSpPr>
          <p:spPr>
            <a:xfrm>
              <a:off x="62680" y="94343"/>
              <a:ext cx="3934054" cy="369332"/>
            </a:xfrm>
            <a:prstGeom prst="rect">
              <a:avLst/>
            </a:prstGeom>
            <a:noFill/>
            <a:ln>
              <a:noFill/>
            </a:ln>
            <a:effectLst/>
          </p:spPr>
          <p:txBody>
            <a:bodyPr vert="horz" wrap="square" lIns="0" tIns="0" rIns="0" bIns="0" rtlCol="0">
              <a:spAutoFit/>
            </a:bodyPr>
            <a:lstStyle/>
            <a:p>
              <a:endParaRPr lang="en-US" sz="1200" dirty="0"/>
            </a:p>
            <a:p>
              <a:r>
                <a:rPr lang="en-IE" sz="1200" dirty="0"/>
                <a:t>BER No: 800880573 </a:t>
              </a:r>
            </a:p>
          </p:txBody>
        </p:sp>
      </p:grpSp>
      <p:sp>
        <p:nvSpPr>
          <p:cNvPr id="20" name="TextBox 19">
            <a:extLst>
              <a:ext uri="{FF2B5EF4-FFF2-40B4-BE49-F238E27FC236}">
                <a16:creationId xmlns:a16="http://schemas.microsoft.com/office/drawing/2014/main" id="{89A82B8F-0ADE-47AF-9664-0100139C2897}"/>
              </a:ext>
            </a:extLst>
          </p:cNvPr>
          <p:cNvSpPr txBox="1"/>
          <p:nvPr/>
        </p:nvSpPr>
        <p:spPr>
          <a:xfrm>
            <a:off x="3845836" y="1067451"/>
            <a:ext cx="2877314" cy="249812"/>
          </a:xfrm>
          <a:prstGeom prst="rect">
            <a:avLst/>
          </a:prstGeom>
          <a:noFill/>
          <a:ln>
            <a:noFill/>
          </a:ln>
          <a:effectLst/>
        </p:spPr>
        <p:txBody>
          <a:bodyPr vert="horz" wrap="square" lIns="0" tIns="0" rIns="0" bIns="0" rtlCol="0">
            <a:spAutoFit/>
          </a:bodyPr>
          <a:lstStyle/>
          <a:p>
            <a:pPr>
              <a:lnSpc>
                <a:spcPct val="110000"/>
              </a:lnSpc>
            </a:pPr>
            <a:r>
              <a:rPr lang="en-GB" sz="1600" b="1" dirty="0">
                <a:solidFill>
                  <a:schemeClr val="tx2"/>
                </a:solidFill>
              </a:rPr>
              <a:t>Quoting Rent</a:t>
            </a:r>
            <a:endParaRPr lang="en-US" sz="1600" b="1" dirty="0">
              <a:solidFill>
                <a:schemeClr val="tx2"/>
              </a:solidFill>
            </a:endParaRPr>
          </a:p>
        </p:txBody>
      </p:sp>
      <p:sp>
        <p:nvSpPr>
          <p:cNvPr id="21" name="TextBox 20">
            <a:extLst>
              <a:ext uri="{FF2B5EF4-FFF2-40B4-BE49-F238E27FC236}">
                <a16:creationId xmlns:a16="http://schemas.microsoft.com/office/drawing/2014/main" id="{8D3CDAB7-9492-4FC0-9736-567FABEA43F5}"/>
              </a:ext>
            </a:extLst>
          </p:cNvPr>
          <p:cNvSpPr txBox="1"/>
          <p:nvPr/>
        </p:nvSpPr>
        <p:spPr>
          <a:xfrm>
            <a:off x="3859545" y="1414721"/>
            <a:ext cx="3125935" cy="187424"/>
          </a:xfrm>
          <a:prstGeom prst="rect">
            <a:avLst/>
          </a:prstGeom>
          <a:noFill/>
          <a:ln>
            <a:noFill/>
          </a:ln>
          <a:effectLst/>
        </p:spPr>
        <p:txBody>
          <a:bodyPr vert="horz" wrap="square" lIns="0" tIns="0" rIns="0" bIns="0" rtlCol="0">
            <a:spAutoFit/>
          </a:bodyPr>
          <a:lstStyle/>
          <a:p>
            <a:pPr algn="just">
              <a:lnSpc>
                <a:spcPct val="110000"/>
              </a:lnSpc>
            </a:pPr>
            <a:r>
              <a:rPr lang="en-US" sz="1200" dirty="0"/>
              <a:t>The quoting rent is €50,000 per annum</a:t>
            </a:r>
          </a:p>
        </p:txBody>
      </p:sp>
      <p:sp>
        <p:nvSpPr>
          <p:cNvPr id="29" name="TextBox 28">
            <a:extLst>
              <a:ext uri="{FF2B5EF4-FFF2-40B4-BE49-F238E27FC236}">
                <a16:creationId xmlns:a16="http://schemas.microsoft.com/office/drawing/2014/main" id="{3D93759E-4A33-45FC-ABB4-99580D2C461A}"/>
              </a:ext>
            </a:extLst>
          </p:cNvPr>
          <p:cNvSpPr txBox="1"/>
          <p:nvPr/>
        </p:nvSpPr>
        <p:spPr>
          <a:xfrm>
            <a:off x="3859545" y="1904894"/>
            <a:ext cx="2877314" cy="249812"/>
          </a:xfrm>
          <a:prstGeom prst="rect">
            <a:avLst/>
          </a:prstGeom>
          <a:noFill/>
          <a:ln>
            <a:noFill/>
          </a:ln>
          <a:effectLst/>
        </p:spPr>
        <p:txBody>
          <a:bodyPr vert="horz" wrap="square" lIns="0" tIns="0" rIns="0" bIns="0" rtlCol="0">
            <a:spAutoFit/>
          </a:bodyPr>
          <a:lstStyle/>
          <a:p>
            <a:pPr>
              <a:lnSpc>
                <a:spcPct val="110000"/>
              </a:lnSpc>
            </a:pPr>
            <a:r>
              <a:rPr lang="en-GB" sz="1600" b="1" dirty="0">
                <a:solidFill>
                  <a:schemeClr val="tx2"/>
                </a:solidFill>
              </a:rPr>
              <a:t>Commercial Rates</a:t>
            </a:r>
            <a:endParaRPr lang="en-US" sz="1600" b="1" dirty="0">
              <a:solidFill>
                <a:schemeClr val="tx2"/>
              </a:solidFill>
            </a:endParaRPr>
          </a:p>
        </p:txBody>
      </p:sp>
      <p:sp>
        <p:nvSpPr>
          <p:cNvPr id="30" name="TextBox 29">
            <a:extLst>
              <a:ext uri="{FF2B5EF4-FFF2-40B4-BE49-F238E27FC236}">
                <a16:creationId xmlns:a16="http://schemas.microsoft.com/office/drawing/2014/main" id="{590302B0-B38D-4452-BB4A-E16383BBBD5D}"/>
              </a:ext>
            </a:extLst>
          </p:cNvPr>
          <p:cNvSpPr txBox="1"/>
          <p:nvPr/>
        </p:nvSpPr>
        <p:spPr>
          <a:xfrm>
            <a:off x="3832957" y="2284637"/>
            <a:ext cx="3082997" cy="796821"/>
          </a:xfrm>
          <a:prstGeom prst="rect">
            <a:avLst/>
          </a:prstGeom>
          <a:noFill/>
          <a:ln>
            <a:noFill/>
          </a:ln>
          <a:effectLst/>
        </p:spPr>
        <p:txBody>
          <a:bodyPr vert="horz" wrap="square" lIns="0" tIns="0" rIns="0" bIns="0" rtlCol="0">
            <a:spAutoFit/>
          </a:bodyPr>
          <a:lstStyle/>
          <a:p>
            <a:pPr algn="just">
              <a:lnSpc>
                <a:spcPct val="110000"/>
              </a:lnSpc>
            </a:pPr>
            <a:r>
              <a:rPr lang="en-US" sz="1200" dirty="0"/>
              <a:t>Commercial rates payable for 2023 are understood to be €3,527.28 per annum, however interested parties are advised to make their own enquiries.</a:t>
            </a:r>
          </a:p>
        </p:txBody>
      </p:sp>
      <p:pic>
        <p:nvPicPr>
          <p:cNvPr id="6" name="Picture 5">
            <a:extLst>
              <a:ext uri="{FF2B5EF4-FFF2-40B4-BE49-F238E27FC236}">
                <a16:creationId xmlns:a16="http://schemas.microsoft.com/office/drawing/2014/main" id="{FD9DA45E-8396-DE94-A5B4-EC2E35F78CAF}"/>
              </a:ext>
            </a:extLst>
          </p:cNvPr>
          <p:cNvPicPr>
            <a:picLocks noChangeAspect="1"/>
          </p:cNvPicPr>
          <p:nvPr/>
        </p:nvPicPr>
        <p:blipFill>
          <a:blip r:embed="rId4"/>
          <a:stretch>
            <a:fillRect/>
          </a:stretch>
        </p:blipFill>
        <p:spPr>
          <a:xfrm>
            <a:off x="671485" y="5123019"/>
            <a:ext cx="6218291" cy="4089368"/>
          </a:xfrm>
          <a:prstGeom prst="rect">
            <a:avLst/>
          </a:prstGeom>
        </p:spPr>
      </p:pic>
      <p:pic>
        <p:nvPicPr>
          <p:cNvPr id="2050" name="Picture 2" descr="ber-e2 - Bennetts Auctioneers">
            <a:extLst>
              <a:ext uri="{FF2B5EF4-FFF2-40B4-BE49-F238E27FC236}">
                <a16:creationId xmlns:a16="http://schemas.microsoft.com/office/drawing/2014/main" id="{40AF5D9C-F329-2451-CC96-9DB54836B67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80630" y="4070591"/>
            <a:ext cx="1221395" cy="4308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825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y7ACxU4h0mwSw8vawDV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lEPfE1HEmVOqN990lJ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n5gWn.xIkqYwS8N6_8r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nO9FM5ly0yDjeH8lMvIH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oLiHhuqW0KWQbZCftys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zUex0ruSUGXX1mE0Rms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vr31s2RzE2j7rNtQ65P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VArDqNtmUODjKvLqYne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f3nOZJd1EijlU_s0DZH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6s9ECJ5S0KdZeunK2B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AZv5ckKt0WtoL8qP8iH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dOxAiyfbUOCVdZu.I2h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HMhcWI40CD1VmBN8Fr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uUCOYT.SkukQSB7wp_w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s3gkYJg0EOBN562FE5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jZ73dhV8E.zth_k4c8E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4gEO1WjyU6lO0v4u68u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Y0F8qz9AUq63AAs2U30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tSANASBEUGX10FTEYlX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4njQtZHQ0CTAnX_7A_O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HZp9A0fYUqbARhGq_3w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X6LpS2skq6D23eW31m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heme/theme1.xml><?xml version="1.0" encoding="utf-8"?>
<a:theme xmlns:a="http://schemas.openxmlformats.org/drawingml/2006/main" name="CUS100046_CW PPT A4 portrait template">
  <a:themeElements>
    <a:clrScheme name="C&amp;W Template colours_2015">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0093B2"/>
      </a:hlink>
      <a:folHlink>
        <a:srgbClr val="E4002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a:noFill/>
        </a:ln>
        <a:effectLst/>
      </a:spPr>
      <a:bodyPr vert="horz" wrap="square" lIns="0" tIns="0" rIns="0" bIns="0" rtlCol="0">
        <a:spAutoFit/>
      </a:bodyPr>
      <a:lstStyle>
        <a:defPPr>
          <a:lnSpc>
            <a:spcPct val="110000"/>
          </a:lnSpc>
          <a:defRPr sz="1200" dirty="0"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18. A4 Portrait Template .potx" id="{A213F5D0-18BB-40EF-9FC4-338AC34C099C}" vid="{6E8CD2D2-18BA-406A-9618-7BF8A68FA7CD}"/>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8. A4 Portrait Template </Template>
  <TotalTime>34464</TotalTime>
  <Words>661</Words>
  <Application>Microsoft Office PowerPoint</Application>
  <PresentationFormat>Custom</PresentationFormat>
  <Paragraphs>78</Paragraphs>
  <Slides>3</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Georgia</vt:lpstr>
      <vt:lpstr>Symbol</vt:lpstr>
      <vt:lpstr>CUS100046_CW PPT A4 portrait template</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rri FitzGerald</dc:creator>
  <cp:lastModifiedBy>Niall Kellegher/IRL</cp:lastModifiedBy>
  <cp:revision>275</cp:revision>
  <cp:lastPrinted>2016-09-28T14:37:35Z</cp:lastPrinted>
  <dcterms:created xsi:type="dcterms:W3CDTF">2016-08-16T07:19:48Z</dcterms:created>
  <dcterms:modified xsi:type="dcterms:W3CDTF">2024-01-19T11:32:08Z</dcterms:modified>
</cp:coreProperties>
</file>